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5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7.xml" ContentType="application/vnd.openxmlformats-officedocument.theme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8.xml" ContentType="application/vnd.openxmlformats-officedocument.theme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9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0.xml" ContentType="application/vnd.openxmlformats-officedocument.theme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11.xml" ContentType="application/vnd.openxmlformats-officedocument.theme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12.xml" ContentType="application/vnd.openxmlformats-officedocument.theme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13.xml" ContentType="application/vnd.openxmlformats-officedocument.theme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14.xml" ContentType="application/vnd.openxmlformats-officedocument.theme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15.xml" ContentType="application/vnd.openxmlformats-officedocument.theme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16.xml" ContentType="application/vnd.openxmlformats-officedocument.theme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heme/theme1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21" r:id="rId2"/>
    <p:sldMasterId id="2147483755" r:id="rId3"/>
    <p:sldMasterId id="2147483767" r:id="rId4"/>
    <p:sldMasterId id="2147483779" r:id="rId5"/>
    <p:sldMasterId id="2147483846" r:id="rId6"/>
    <p:sldMasterId id="2147483867" r:id="rId7"/>
    <p:sldMasterId id="2147483896" r:id="rId8"/>
    <p:sldMasterId id="2147483914" r:id="rId9"/>
    <p:sldMasterId id="2147483934" r:id="rId10"/>
    <p:sldMasterId id="2147483966" r:id="rId11"/>
    <p:sldMasterId id="2147483984" r:id="rId12"/>
    <p:sldMasterId id="2147484001" r:id="rId13"/>
    <p:sldMasterId id="2147484006" r:id="rId14"/>
    <p:sldMasterId id="2147484018" r:id="rId15"/>
    <p:sldMasterId id="2147484021" r:id="rId16"/>
  </p:sldMasterIdLst>
  <p:notesMasterIdLst>
    <p:notesMasterId r:id="rId39"/>
  </p:notesMasterIdLst>
  <p:sldIdLst>
    <p:sldId id="2147471100" r:id="rId17"/>
    <p:sldId id="2147471101" r:id="rId18"/>
    <p:sldId id="2147471102" r:id="rId19"/>
    <p:sldId id="2147471103" r:id="rId20"/>
    <p:sldId id="2147471104" r:id="rId21"/>
    <p:sldId id="2147471105" r:id="rId22"/>
    <p:sldId id="2147471106" r:id="rId23"/>
    <p:sldId id="2147471107" r:id="rId24"/>
    <p:sldId id="2147471108" r:id="rId25"/>
    <p:sldId id="2147471109" r:id="rId26"/>
    <p:sldId id="2147471110" r:id="rId27"/>
    <p:sldId id="2147471111" r:id="rId28"/>
    <p:sldId id="2147471112" r:id="rId29"/>
    <p:sldId id="2147471113" r:id="rId30"/>
    <p:sldId id="2147471114" r:id="rId31"/>
    <p:sldId id="2147471115" r:id="rId32"/>
    <p:sldId id="2147471116" r:id="rId33"/>
    <p:sldId id="2147471117" r:id="rId34"/>
    <p:sldId id="2147471118" r:id="rId35"/>
    <p:sldId id="2147471119" r:id="rId36"/>
    <p:sldId id="2147471120" r:id="rId37"/>
    <p:sldId id="2147471121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CE5A4DF-E480-48E8-9406-D0384849E9CD}">
          <p14:sldIdLst>
            <p14:sldId id="2147471100"/>
            <p14:sldId id="2147471101"/>
            <p14:sldId id="2147471102"/>
            <p14:sldId id="2147471103"/>
            <p14:sldId id="2147471104"/>
            <p14:sldId id="2147471105"/>
            <p14:sldId id="2147471106"/>
            <p14:sldId id="2147471107"/>
            <p14:sldId id="2147471108"/>
            <p14:sldId id="2147471109"/>
            <p14:sldId id="2147471110"/>
            <p14:sldId id="2147471111"/>
            <p14:sldId id="2147471112"/>
            <p14:sldId id="2147471113"/>
            <p14:sldId id="2147471114"/>
            <p14:sldId id="2147471115"/>
            <p14:sldId id="2147471116"/>
            <p14:sldId id="2147471117"/>
            <p14:sldId id="2147471118"/>
            <p14:sldId id="2147471119"/>
            <p14:sldId id="2147471120"/>
            <p14:sldId id="214747112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ED6249-09DE-442C-BE1E-1B9E943C3A39}" v="9" dt="2022-02-16T17:02:09.8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448" autoAdjust="0"/>
    <p:restoredTop sz="94660"/>
  </p:normalViewPr>
  <p:slideViewPr>
    <p:cSldViewPr snapToGrid="0">
      <p:cViewPr varScale="1">
        <p:scale>
          <a:sx n="82" d="100"/>
          <a:sy n="82" d="100"/>
        </p:scale>
        <p:origin x="283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/>
              <a:t>COVID-19</a:t>
            </a:r>
            <a:r>
              <a:rPr lang="en-IN" baseline="0"/>
              <a:t> Vaccination Coverage</a:t>
            </a:r>
            <a:endParaRPr lang="en-IN"/>
          </a:p>
        </c:rich>
      </c:tx>
      <c:layout>
        <c:manualLayout>
          <c:xMode val="edge"/>
          <c:yMode val="edge"/>
          <c:x val="0.18930477688618555"/>
          <c:y val="2.5064742361092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irst dose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385703770576339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F3-4AA2-86A5-BDEF6633C2F7}"/>
                </c:ext>
              </c:extLst>
            </c:dLbl>
            <c:dLbl>
              <c:idx val="1"/>
              <c:layout>
                <c:manualLayout>
                  <c:x val="-2.2171260329221395E-2"/>
                  <c:y val="-6.671464517789696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DF3-4AA2-86A5-BDEF6633C2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otal Population</c:v>
                </c:pt>
                <c:pt idx="1">
                  <c:v>Eligible population (12+ years)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72906144029370867</c:v>
                </c:pt>
                <c:pt idx="1">
                  <c:v>0.878881973860308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82-4B5A-A360-AA2A3609248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cond dose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otal Population</c:v>
                </c:pt>
                <c:pt idx="1">
                  <c:v>Eligible population (12+ years)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67878911123446684</c:v>
                </c:pt>
                <c:pt idx="1">
                  <c:v>0.818278790984059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82-4B5A-A360-AA2A3609248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ooster dos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otal Population</c:v>
                </c:pt>
                <c:pt idx="1">
                  <c:v>Eligible population (12+ years)</c:v>
                </c:pt>
              </c:strCache>
            </c:strRef>
          </c:cat>
          <c:val>
            <c:numRef>
              <c:f>Sheet1!$D$2:$D$3</c:f>
              <c:numCache>
                <c:formatCode>0.0%</c:formatCode>
                <c:ptCount val="2"/>
                <c:pt idx="0">
                  <c:v>0.19908509160992</c:v>
                </c:pt>
                <c:pt idx="1">
                  <c:v>0.2399966430947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DD-4B02-86F0-8592018C08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031504"/>
        <c:axId val="165029008"/>
      </c:barChart>
      <c:catAx>
        <c:axId val="165031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029008"/>
        <c:crosses val="autoZero"/>
        <c:auto val="1"/>
        <c:lblAlgn val="ctr"/>
        <c:lblOffset val="100"/>
        <c:noMultiLvlLbl val="0"/>
      </c:catAx>
      <c:valAx>
        <c:axId val="165029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031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38100">
      <a:solidFill>
        <a:srgbClr val="0070C0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035069-7C35-4CE1-A985-AD7B44521E02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8BF741-33E0-41C2-8BDF-1D8B0FFF82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494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6.xml"/><Relationship Id="rId4" Type="http://schemas.openxmlformats.org/officeDocument/2006/relationships/image" Target="../media/image26.emf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140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42.xml"/><Relationship Id="rId10" Type="http://schemas.openxmlformats.org/officeDocument/2006/relationships/image" Target="../media/image29.png"/><Relationship Id="rId4" Type="http://schemas.openxmlformats.org/officeDocument/2006/relationships/tags" Target="../tags/tag141.xml"/><Relationship Id="rId9" Type="http://schemas.openxmlformats.org/officeDocument/2006/relationships/image" Target="../media/image28.png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10" Type="http://schemas.openxmlformats.org/officeDocument/2006/relationships/image" Target="../media/image25.emf"/><Relationship Id="rId4" Type="http://schemas.openxmlformats.org/officeDocument/2006/relationships/tags" Target="../tags/tag146.xml"/><Relationship Id="rId9" Type="http://schemas.openxmlformats.org/officeDocument/2006/relationships/oleObject" Target="../embeddings/oleObject24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52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4" Type="http://schemas.openxmlformats.org/officeDocument/2006/relationships/tags" Target="../tags/tag153.xml"/><Relationship Id="rId9" Type="http://schemas.openxmlformats.org/officeDocument/2006/relationships/image" Target="../media/image23.emf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58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4" Type="http://schemas.openxmlformats.org/officeDocument/2006/relationships/tags" Target="../tags/tag159.xml"/><Relationship Id="rId9" Type="http://schemas.openxmlformats.org/officeDocument/2006/relationships/image" Target="../media/image23.emf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64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image" Target="../media/image23.emf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10" Type="http://schemas.openxmlformats.org/officeDocument/2006/relationships/image" Target="../media/image23.emf"/><Relationship Id="rId4" Type="http://schemas.openxmlformats.org/officeDocument/2006/relationships/tags" Target="../tags/tag171.xml"/><Relationship Id="rId9" Type="http://schemas.openxmlformats.org/officeDocument/2006/relationships/oleObject" Target="../embeddings/oleObject28.bin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image" Target="../media/image27.png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11" Type="http://schemas.openxmlformats.org/officeDocument/2006/relationships/image" Target="../media/image21.emf"/><Relationship Id="rId5" Type="http://schemas.openxmlformats.org/officeDocument/2006/relationships/tags" Target="../tags/tag179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178.xml"/><Relationship Id="rId9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27.png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image" Target="../media/image21.emf"/><Relationship Id="rId5" Type="http://schemas.openxmlformats.org/officeDocument/2006/relationships/tags" Target="../tags/tag187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186.xml"/><Relationship Id="rId9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27.png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1" Type="http://schemas.openxmlformats.org/officeDocument/2006/relationships/image" Target="../media/image23.emf"/><Relationship Id="rId5" Type="http://schemas.openxmlformats.org/officeDocument/2006/relationships/tags" Target="../tags/tag195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194.xml"/><Relationship Id="rId9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image" Target="../media/image27.png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tags" Target="../tags/tag204.xml"/><Relationship Id="rId11" Type="http://schemas.openxmlformats.org/officeDocument/2006/relationships/image" Target="../media/image23.emf"/><Relationship Id="rId5" Type="http://schemas.openxmlformats.org/officeDocument/2006/relationships/tags" Target="../tags/tag203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02.xml"/><Relationship Id="rId9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27.png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tags" Target="../tags/tag212.xml"/><Relationship Id="rId11" Type="http://schemas.openxmlformats.org/officeDocument/2006/relationships/image" Target="../media/image21.emf"/><Relationship Id="rId5" Type="http://schemas.openxmlformats.org/officeDocument/2006/relationships/tags" Target="../tags/tag211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10.xml"/><Relationship Id="rId9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17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5" Type="http://schemas.openxmlformats.org/officeDocument/2006/relationships/tags" Target="../tags/tag219.xml"/><Relationship Id="rId10" Type="http://schemas.openxmlformats.org/officeDocument/2006/relationships/image" Target="../media/image27.png"/><Relationship Id="rId4" Type="http://schemas.openxmlformats.org/officeDocument/2006/relationships/tags" Target="../tags/tag218.xml"/><Relationship Id="rId9" Type="http://schemas.openxmlformats.org/officeDocument/2006/relationships/image" Target="../media/image25.emf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223.xml"/><Relationship Id="rId7" Type="http://schemas.openxmlformats.org/officeDocument/2006/relationships/image" Target="../media/image23.emf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2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image" Target="../media/image30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6.bin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tags" Target="../tags/tag22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5" Type="http://schemas.openxmlformats.org/officeDocument/2006/relationships/tags" Target="../tags/tag231.xml"/><Relationship Id="rId4" Type="http://schemas.openxmlformats.org/officeDocument/2006/relationships/tags" Target="../tags/tag230.xml"/><Relationship Id="rId9" Type="http://schemas.openxmlformats.org/officeDocument/2006/relationships/image" Target="../media/image25.emf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235.xml"/><Relationship Id="rId7" Type="http://schemas.openxmlformats.org/officeDocument/2006/relationships/tags" Target="../tags/tag239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5" Type="http://schemas.openxmlformats.org/officeDocument/2006/relationships/tags" Target="../tags/tag237.xml"/><Relationship Id="rId10" Type="http://schemas.openxmlformats.org/officeDocument/2006/relationships/image" Target="../media/image21.emf"/><Relationship Id="rId4" Type="http://schemas.openxmlformats.org/officeDocument/2006/relationships/tags" Target="../tags/tag236.xml"/><Relationship Id="rId9" Type="http://schemas.openxmlformats.org/officeDocument/2006/relationships/oleObject" Target="../embeddings/oleObject38.bin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11" Type="http://schemas.openxmlformats.org/officeDocument/2006/relationships/image" Target="../media/image21.emf"/><Relationship Id="rId5" Type="http://schemas.openxmlformats.org/officeDocument/2006/relationships/tags" Target="../tags/tag244.xml"/><Relationship Id="rId10" Type="http://schemas.openxmlformats.org/officeDocument/2006/relationships/oleObject" Target="../embeddings/oleObject39.bin"/><Relationship Id="rId4" Type="http://schemas.openxmlformats.org/officeDocument/2006/relationships/tags" Target="../tags/tag243.xml"/><Relationship Id="rId9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70.xml"/><Relationship Id="rId7" Type="http://schemas.openxmlformats.org/officeDocument/2006/relationships/oleObject" Target="../embeddings/oleObject41.bin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72.xml"/><Relationship Id="rId4" Type="http://schemas.openxmlformats.org/officeDocument/2006/relationships/tags" Target="../tags/tag27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5" Type="http://schemas.openxmlformats.org/officeDocument/2006/relationships/tags" Target="../tags/tag277.xml"/><Relationship Id="rId10" Type="http://schemas.openxmlformats.org/officeDocument/2006/relationships/image" Target="../media/image21.emf"/><Relationship Id="rId4" Type="http://schemas.openxmlformats.org/officeDocument/2006/relationships/tags" Target="../tags/tag276.xml"/><Relationship Id="rId9" Type="http://schemas.openxmlformats.org/officeDocument/2006/relationships/oleObject" Target="../embeddings/oleObject42.bin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.bin"/><Relationship Id="rId3" Type="http://schemas.openxmlformats.org/officeDocument/2006/relationships/tags" Target="../tags/tag282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tags" Target="../tags/tag285.xml"/><Relationship Id="rId5" Type="http://schemas.openxmlformats.org/officeDocument/2006/relationships/tags" Target="../tags/tag284.xml"/><Relationship Id="rId4" Type="http://schemas.openxmlformats.org/officeDocument/2006/relationships/tags" Target="../tags/tag283.xml"/><Relationship Id="rId9" Type="http://schemas.openxmlformats.org/officeDocument/2006/relationships/image" Target="../media/image23.emf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288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287.xml"/><Relationship Id="rId1" Type="http://schemas.openxmlformats.org/officeDocument/2006/relationships/tags" Target="../tags/tag286.xml"/><Relationship Id="rId6" Type="http://schemas.openxmlformats.org/officeDocument/2006/relationships/tags" Target="../tags/tag291.xml"/><Relationship Id="rId5" Type="http://schemas.openxmlformats.org/officeDocument/2006/relationships/tags" Target="../tags/tag290.xml"/><Relationship Id="rId4" Type="http://schemas.openxmlformats.org/officeDocument/2006/relationships/tags" Target="../tags/tag289.xml"/><Relationship Id="rId9" Type="http://schemas.openxmlformats.org/officeDocument/2006/relationships/image" Target="../media/image23.emf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tags" Target="../tags/tag294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5" Type="http://schemas.openxmlformats.org/officeDocument/2006/relationships/tags" Target="../tags/tag296.xml"/><Relationship Id="rId4" Type="http://schemas.openxmlformats.org/officeDocument/2006/relationships/tags" Target="../tags/tag295.xml"/><Relationship Id="rId9" Type="http://schemas.openxmlformats.org/officeDocument/2006/relationships/image" Target="../media/image23.emf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10" Type="http://schemas.openxmlformats.org/officeDocument/2006/relationships/image" Target="../media/image23.emf"/><Relationship Id="rId4" Type="http://schemas.openxmlformats.org/officeDocument/2006/relationships/tags" Target="../tags/tag301.xml"/><Relationship Id="rId9" Type="http://schemas.openxmlformats.org/officeDocument/2006/relationships/oleObject" Target="../embeddings/oleObject46.bin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image" Target="../media/image21.emf"/><Relationship Id="rId5" Type="http://schemas.openxmlformats.org/officeDocument/2006/relationships/tags" Target="../tags/tag309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308.xml"/><Relationship Id="rId9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1" Type="http://schemas.openxmlformats.org/officeDocument/2006/relationships/image" Target="../media/image21.emf"/><Relationship Id="rId5" Type="http://schemas.openxmlformats.org/officeDocument/2006/relationships/tags" Target="../tags/tag317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316.xml"/><Relationship Id="rId9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tags" Target="../tags/tag328.xml"/><Relationship Id="rId3" Type="http://schemas.openxmlformats.org/officeDocument/2006/relationships/tags" Target="../tags/tag323.xml"/><Relationship Id="rId7" Type="http://schemas.openxmlformats.org/officeDocument/2006/relationships/tags" Target="../tags/tag327.xml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tags" Target="../tags/tag326.xml"/><Relationship Id="rId11" Type="http://schemas.openxmlformats.org/officeDocument/2006/relationships/image" Target="../media/image21.emf"/><Relationship Id="rId5" Type="http://schemas.openxmlformats.org/officeDocument/2006/relationships/tags" Target="../tags/tag325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324.xml"/><Relationship Id="rId9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tags" Target="../tags/tag336.xml"/><Relationship Id="rId3" Type="http://schemas.openxmlformats.org/officeDocument/2006/relationships/tags" Target="../tags/tag331.xml"/><Relationship Id="rId7" Type="http://schemas.openxmlformats.org/officeDocument/2006/relationships/tags" Target="../tags/tag335.xml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tags" Target="../tags/tag334.xml"/><Relationship Id="rId11" Type="http://schemas.openxmlformats.org/officeDocument/2006/relationships/image" Target="../media/image25.emf"/><Relationship Id="rId5" Type="http://schemas.openxmlformats.org/officeDocument/2006/relationships/tags" Target="../tags/tag333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332.xml"/><Relationship Id="rId9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tags" Target="../tags/tag344.xml"/><Relationship Id="rId3" Type="http://schemas.openxmlformats.org/officeDocument/2006/relationships/tags" Target="../tags/tag339.xml"/><Relationship Id="rId7" Type="http://schemas.openxmlformats.org/officeDocument/2006/relationships/tags" Target="../tags/tag343.xml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6" Type="http://schemas.openxmlformats.org/officeDocument/2006/relationships/tags" Target="../tags/tag342.xml"/><Relationship Id="rId11" Type="http://schemas.openxmlformats.org/officeDocument/2006/relationships/image" Target="../media/image21.emf"/><Relationship Id="rId5" Type="http://schemas.openxmlformats.org/officeDocument/2006/relationships/tags" Target="../tags/tag341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340.xml"/><Relationship Id="rId9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347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tags" Target="../tags/tag350.xml"/><Relationship Id="rId5" Type="http://schemas.openxmlformats.org/officeDocument/2006/relationships/tags" Target="../tags/tag349.xml"/><Relationship Id="rId4" Type="http://schemas.openxmlformats.org/officeDocument/2006/relationships/tags" Target="../tags/tag348.xml"/><Relationship Id="rId9" Type="http://schemas.openxmlformats.org/officeDocument/2006/relationships/image" Target="../media/image23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353.xml"/><Relationship Id="rId7" Type="http://schemas.openxmlformats.org/officeDocument/2006/relationships/image" Target="../media/image23.emf"/><Relationship Id="rId2" Type="http://schemas.openxmlformats.org/officeDocument/2006/relationships/tags" Target="../tags/tag352.xml"/><Relationship Id="rId1" Type="http://schemas.openxmlformats.org/officeDocument/2006/relationships/tags" Target="../tags/tag351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354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55.xml"/><Relationship Id="rId4" Type="http://schemas.openxmlformats.org/officeDocument/2006/relationships/image" Target="../media/image23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5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56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57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58.bin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4.png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60.bin"/><Relationship Id="rId10" Type="http://schemas.openxmlformats.org/officeDocument/2006/relationships/image" Target="../media/image37.png"/><Relationship Id="rId4" Type="http://schemas.openxmlformats.org/officeDocument/2006/relationships/image" Target="../media/image32.png"/><Relationship Id="rId9" Type="http://schemas.openxmlformats.org/officeDocument/2006/relationships/image" Target="../media/image36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1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3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4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5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9.xml"/><Relationship Id="rId1" Type="http://schemas.openxmlformats.org/officeDocument/2006/relationships/tags" Target="../tags/tag378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6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38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68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40.emf"/><Relationship Id="rId2" Type="http://schemas.openxmlformats.org/officeDocument/2006/relationships/tags" Target="../tags/tag385.xml"/><Relationship Id="rId1" Type="http://schemas.openxmlformats.org/officeDocument/2006/relationships/tags" Target="../tags/tag384.x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69.bin"/><Relationship Id="rId4" Type="http://schemas.openxmlformats.org/officeDocument/2006/relationships/image" Target="../media/image39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0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1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1.xml"/><Relationship Id="rId1" Type="http://schemas.openxmlformats.org/officeDocument/2006/relationships/tags" Target="../tags/tag390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3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5.xml"/><Relationship Id="rId1" Type="http://schemas.openxmlformats.org/officeDocument/2006/relationships/tags" Target="../tags/tag394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4.bin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403.xml"/><Relationship Id="rId3" Type="http://schemas.openxmlformats.org/officeDocument/2006/relationships/tags" Target="../tags/tag398.xml"/><Relationship Id="rId7" Type="http://schemas.openxmlformats.org/officeDocument/2006/relationships/tags" Target="../tags/tag402.xml"/><Relationship Id="rId2" Type="http://schemas.openxmlformats.org/officeDocument/2006/relationships/tags" Target="../tags/tag397.xml"/><Relationship Id="rId1" Type="http://schemas.openxmlformats.org/officeDocument/2006/relationships/tags" Target="../tags/tag396.xml"/><Relationship Id="rId6" Type="http://schemas.openxmlformats.org/officeDocument/2006/relationships/tags" Target="../tags/tag401.xml"/><Relationship Id="rId11" Type="http://schemas.openxmlformats.org/officeDocument/2006/relationships/image" Target="../media/image21.emf"/><Relationship Id="rId5" Type="http://schemas.openxmlformats.org/officeDocument/2006/relationships/tags" Target="../tags/tag400.xml"/><Relationship Id="rId10" Type="http://schemas.openxmlformats.org/officeDocument/2006/relationships/oleObject" Target="../embeddings/oleObject75.bin"/><Relationship Id="rId4" Type="http://schemas.openxmlformats.org/officeDocument/2006/relationships/tags" Target="../tags/tag399.xml"/><Relationship Id="rId9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6.bin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7.xml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08.xml"/><Relationship Id="rId4" Type="http://schemas.openxmlformats.org/officeDocument/2006/relationships/image" Target="../media/image48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10.xml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11.xml"/><Relationship Id="rId4" Type="http://schemas.openxmlformats.org/officeDocument/2006/relationships/image" Target="../media/image48.emf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434.xml"/><Relationship Id="rId7" Type="http://schemas.openxmlformats.org/officeDocument/2006/relationships/oleObject" Target="../embeddings/oleObject84.bin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436.xml"/><Relationship Id="rId4" Type="http://schemas.openxmlformats.org/officeDocument/2006/relationships/tags" Target="../tags/tag435.xml"/><Relationship Id="rId9" Type="http://schemas.openxmlformats.org/officeDocument/2006/relationships/image" Target="../media/image22.wmf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439.xml"/><Relationship Id="rId7" Type="http://schemas.openxmlformats.org/officeDocument/2006/relationships/tags" Target="../tags/tag443.xml"/><Relationship Id="rId2" Type="http://schemas.openxmlformats.org/officeDocument/2006/relationships/tags" Target="../tags/tag438.xml"/><Relationship Id="rId1" Type="http://schemas.openxmlformats.org/officeDocument/2006/relationships/tags" Target="../tags/tag437.xml"/><Relationship Id="rId6" Type="http://schemas.openxmlformats.org/officeDocument/2006/relationships/tags" Target="../tags/tag442.xml"/><Relationship Id="rId5" Type="http://schemas.openxmlformats.org/officeDocument/2006/relationships/tags" Target="../tags/tag441.xml"/><Relationship Id="rId10" Type="http://schemas.openxmlformats.org/officeDocument/2006/relationships/image" Target="../media/image21.emf"/><Relationship Id="rId4" Type="http://schemas.openxmlformats.org/officeDocument/2006/relationships/tags" Target="../tags/tag440.xml"/><Relationship Id="rId9" Type="http://schemas.openxmlformats.org/officeDocument/2006/relationships/oleObject" Target="../embeddings/oleObject85.bin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6.bin"/><Relationship Id="rId3" Type="http://schemas.openxmlformats.org/officeDocument/2006/relationships/tags" Target="../tags/tag446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tags" Target="../tags/tag449.xml"/><Relationship Id="rId5" Type="http://schemas.openxmlformats.org/officeDocument/2006/relationships/tags" Target="../tags/tag448.xml"/><Relationship Id="rId4" Type="http://schemas.openxmlformats.org/officeDocument/2006/relationships/tags" Target="../tags/tag447.xml"/><Relationship Id="rId9" Type="http://schemas.openxmlformats.org/officeDocument/2006/relationships/image" Target="../media/image23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7.bin"/><Relationship Id="rId3" Type="http://schemas.openxmlformats.org/officeDocument/2006/relationships/tags" Target="../tags/tag452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451.xml"/><Relationship Id="rId1" Type="http://schemas.openxmlformats.org/officeDocument/2006/relationships/tags" Target="../tags/tag450.xml"/><Relationship Id="rId6" Type="http://schemas.openxmlformats.org/officeDocument/2006/relationships/tags" Target="../tags/tag455.xml"/><Relationship Id="rId5" Type="http://schemas.openxmlformats.org/officeDocument/2006/relationships/tags" Target="../tags/tag454.xml"/><Relationship Id="rId4" Type="http://schemas.openxmlformats.org/officeDocument/2006/relationships/tags" Target="../tags/tag453.xml"/><Relationship Id="rId9" Type="http://schemas.openxmlformats.org/officeDocument/2006/relationships/image" Target="../media/image23.emf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8.bin"/><Relationship Id="rId3" Type="http://schemas.openxmlformats.org/officeDocument/2006/relationships/tags" Target="../tags/tag458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tags" Target="../tags/tag461.xml"/><Relationship Id="rId5" Type="http://schemas.openxmlformats.org/officeDocument/2006/relationships/tags" Target="../tags/tag460.xml"/><Relationship Id="rId4" Type="http://schemas.openxmlformats.org/officeDocument/2006/relationships/tags" Target="../tags/tag459.xml"/><Relationship Id="rId9" Type="http://schemas.openxmlformats.org/officeDocument/2006/relationships/image" Target="../media/image23.emf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464.xml"/><Relationship Id="rId7" Type="http://schemas.openxmlformats.org/officeDocument/2006/relationships/tags" Target="../tags/tag468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tags" Target="../tags/tag467.xml"/><Relationship Id="rId5" Type="http://schemas.openxmlformats.org/officeDocument/2006/relationships/tags" Target="../tags/tag466.xml"/><Relationship Id="rId10" Type="http://schemas.openxmlformats.org/officeDocument/2006/relationships/image" Target="../media/image23.emf"/><Relationship Id="rId4" Type="http://schemas.openxmlformats.org/officeDocument/2006/relationships/tags" Target="../tags/tag465.xml"/><Relationship Id="rId9" Type="http://schemas.openxmlformats.org/officeDocument/2006/relationships/oleObject" Target="../embeddings/oleObject89.bin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12" Type="http://schemas.openxmlformats.org/officeDocument/2006/relationships/image" Target="../media/image24.png"/><Relationship Id="rId2" Type="http://schemas.openxmlformats.org/officeDocument/2006/relationships/tags" Target="../tags/tag470.xml"/><Relationship Id="rId1" Type="http://schemas.openxmlformats.org/officeDocument/2006/relationships/tags" Target="../tags/tag469.xml"/><Relationship Id="rId6" Type="http://schemas.openxmlformats.org/officeDocument/2006/relationships/tags" Target="../tags/tag474.xml"/><Relationship Id="rId11" Type="http://schemas.openxmlformats.org/officeDocument/2006/relationships/image" Target="../media/image21.emf"/><Relationship Id="rId5" Type="http://schemas.openxmlformats.org/officeDocument/2006/relationships/tags" Target="../tags/tag473.xml"/><Relationship Id="rId10" Type="http://schemas.openxmlformats.org/officeDocument/2006/relationships/oleObject" Target="../embeddings/oleObject90.bin"/><Relationship Id="rId4" Type="http://schemas.openxmlformats.org/officeDocument/2006/relationships/tags" Target="../tags/tag472.xml"/><Relationship Id="rId9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tags" Target="../tags/tag484.xml"/><Relationship Id="rId3" Type="http://schemas.openxmlformats.org/officeDocument/2006/relationships/tags" Target="../tags/tag479.xml"/><Relationship Id="rId7" Type="http://schemas.openxmlformats.org/officeDocument/2006/relationships/tags" Target="../tags/tag483.xml"/><Relationship Id="rId12" Type="http://schemas.openxmlformats.org/officeDocument/2006/relationships/image" Target="../media/image24.png"/><Relationship Id="rId2" Type="http://schemas.openxmlformats.org/officeDocument/2006/relationships/tags" Target="../tags/tag478.xml"/><Relationship Id="rId1" Type="http://schemas.openxmlformats.org/officeDocument/2006/relationships/tags" Target="../tags/tag477.xml"/><Relationship Id="rId6" Type="http://schemas.openxmlformats.org/officeDocument/2006/relationships/tags" Target="../tags/tag482.xml"/><Relationship Id="rId11" Type="http://schemas.openxmlformats.org/officeDocument/2006/relationships/image" Target="../media/image21.emf"/><Relationship Id="rId5" Type="http://schemas.openxmlformats.org/officeDocument/2006/relationships/tags" Target="../tags/tag481.xml"/><Relationship Id="rId10" Type="http://schemas.openxmlformats.org/officeDocument/2006/relationships/oleObject" Target="../embeddings/oleObject91.bin"/><Relationship Id="rId4" Type="http://schemas.openxmlformats.org/officeDocument/2006/relationships/tags" Target="../tags/tag480.xml"/><Relationship Id="rId9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tags" Target="../tags/tag492.xml"/><Relationship Id="rId3" Type="http://schemas.openxmlformats.org/officeDocument/2006/relationships/tags" Target="../tags/tag487.xml"/><Relationship Id="rId7" Type="http://schemas.openxmlformats.org/officeDocument/2006/relationships/tags" Target="../tags/tag491.xml"/><Relationship Id="rId12" Type="http://schemas.openxmlformats.org/officeDocument/2006/relationships/image" Target="../media/image24.png"/><Relationship Id="rId2" Type="http://schemas.openxmlformats.org/officeDocument/2006/relationships/tags" Target="../tags/tag486.xml"/><Relationship Id="rId1" Type="http://schemas.openxmlformats.org/officeDocument/2006/relationships/tags" Target="../tags/tag485.xml"/><Relationship Id="rId6" Type="http://schemas.openxmlformats.org/officeDocument/2006/relationships/tags" Target="../tags/tag490.xml"/><Relationship Id="rId11" Type="http://schemas.openxmlformats.org/officeDocument/2006/relationships/image" Target="../media/image21.emf"/><Relationship Id="rId5" Type="http://schemas.openxmlformats.org/officeDocument/2006/relationships/tags" Target="../tags/tag489.xml"/><Relationship Id="rId10" Type="http://schemas.openxmlformats.org/officeDocument/2006/relationships/oleObject" Target="../embeddings/oleObject92.bin"/><Relationship Id="rId4" Type="http://schemas.openxmlformats.org/officeDocument/2006/relationships/tags" Target="../tags/tag488.xml"/><Relationship Id="rId9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12" Type="http://schemas.openxmlformats.org/officeDocument/2006/relationships/image" Target="../media/image24.png"/><Relationship Id="rId2" Type="http://schemas.openxmlformats.org/officeDocument/2006/relationships/tags" Target="../tags/tag494.xml"/><Relationship Id="rId1" Type="http://schemas.openxmlformats.org/officeDocument/2006/relationships/tags" Target="../tags/tag493.xml"/><Relationship Id="rId6" Type="http://schemas.openxmlformats.org/officeDocument/2006/relationships/tags" Target="../tags/tag498.xml"/><Relationship Id="rId11" Type="http://schemas.openxmlformats.org/officeDocument/2006/relationships/image" Target="../media/image25.emf"/><Relationship Id="rId5" Type="http://schemas.openxmlformats.org/officeDocument/2006/relationships/tags" Target="../tags/tag497.xml"/><Relationship Id="rId10" Type="http://schemas.openxmlformats.org/officeDocument/2006/relationships/oleObject" Target="../embeddings/oleObject93.bin"/><Relationship Id="rId4" Type="http://schemas.openxmlformats.org/officeDocument/2006/relationships/tags" Target="../tags/tag496.xml"/><Relationship Id="rId9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tags" Target="../tags/tag508.xml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12" Type="http://schemas.openxmlformats.org/officeDocument/2006/relationships/image" Target="../media/image24.png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tags" Target="../tags/tag506.xml"/><Relationship Id="rId11" Type="http://schemas.openxmlformats.org/officeDocument/2006/relationships/image" Target="../media/image21.emf"/><Relationship Id="rId5" Type="http://schemas.openxmlformats.org/officeDocument/2006/relationships/tags" Target="../tags/tag505.xml"/><Relationship Id="rId10" Type="http://schemas.openxmlformats.org/officeDocument/2006/relationships/oleObject" Target="../embeddings/oleObject94.bin"/><Relationship Id="rId4" Type="http://schemas.openxmlformats.org/officeDocument/2006/relationships/tags" Target="../tags/tag504.xml"/><Relationship Id="rId9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511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tags" Target="../tags/tag514.xml"/><Relationship Id="rId5" Type="http://schemas.openxmlformats.org/officeDocument/2006/relationships/tags" Target="../tags/tag513.xml"/><Relationship Id="rId10" Type="http://schemas.openxmlformats.org/officeDocument/2006/relationships/image" Target="../media/image22.wmf"/><Relationship Id="rId4" Type="http://schemas.openxmlformats.org/officeDocument/2006/relationships/tags" Target="../tags/tag512.xml"/><Relationship Id="rId9" Type="http://schemas.openxmlformats.org/officeDocument/2006/relationships/image" Target="../media/image23.emf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wmf"/><Relationship Id="rId3" Type="http://schemas.openxmlformats.org/officeDocument/2006/relationships/tags" Target="../tags/tag517.xml"/><Relationship Id="rId7" Type="http://schemas.openxmlformats.org/officeDocument/2006/relationships/image" Target="../media/image23.emf"/><Relationship Id="rId2" Type="http://schemas.openxmlformats.org/officeDocument/2006/relationships/tags" Target="../tags/tag516.xml"/><Relationship Id="rId1" Type="http://schemas.openxmlformats.org/officeDocument/2006/relationships/tags" Target="../tags/tag515.xml"/><Relationship Id="rId6" Type="http://schemas.openxmlformats.org/officeDocument/2006/relationships/oleObject" Target="../embeddings/oleObject96.bin"/><Relationship Id="rId5" Type="http://schemas.openxmlformats.org/officeDocument/2006/relationships/slideMaster" Target="../slideMasters/slideMaster12.xml"/><Relationship Id="rId4" Type="http://schemas.openxmlformats.org/officeDocument/2006/relationships/tags" Target="../tags/tag5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97.bin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543.xml"/><Relationship Id="rId7" Type="http://schemas.openxmlformats.org/officeDocument/2006/relationships/oleObject" Target="../embeddings/oleObject99.bin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545.xml"/><Relationship Id="rId4" Type="http://schemas.openxmlformats.org/officeDocument/2006/relationships/tags" Target="../tags/tag544.xml"/><Relationship Id="rId9" Type="http://schemas.openxmlformats.org/officeDocument/2006/relationships/image" Target="../media/image22.wmf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548.xml"/><Relationship Id="rId7" Type="http://schemas.openxmlformats.org/officeDocument/2006/relationships/tags" Target="../tags/tag552.xml"/><Relationship Id="rId2" Type="http://schemas.openxmlformats.org/officeDocument/2006/relationships/tags" Target="../tags/tag547.xml"/><Relationship Id="rId1" Type="http://schemas.openxmlformats.org/officeDocument/2006/relationships/tags" Target="../tags/tag546.xml"/><Relationship Id="rId6" Type="http://schemas.openxmlformats.org/officeDocument/2006/relationships/tags" Target="../tags/tag551.xml"/><Relationship Id="rId5" Type="http://schemas.openxmlformats.org/officeDocument/2006/relationships/tags" Target="../tags/tag550.xml"/><Relationship Id="rId10" Type="http://schemas.openxmlformats.org/officeDocument/2006/relationships/image" Target="../media/image21.emf"/><Relationship Id="rId4" Type="http://schemas.openxmlformats.org/officeDocument/2006/relationships/tags" Target="../tags/tag549.xml"/><Relationship Id="rId9" Type="http://schemas.openxmlformats.org/officeDocument/2006/relationships/oleObject" Target="../embeddings/oleObject100.bin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1.bin"/><Relationship Id="rId3" Type="http://schemas.openxmlformats.org/officeDocument/2006/relationships/tags" Target="../tags/tag555.xml"/><Relationship Id="rId7" Type="http://schemas.openxmlformats.org/officeDocument/2006/relationships/slideMaster" Target="../slideMasters/slideMaster13.xml"/><Relationship Id="rId2" Type="http://schemas.openxmlformats.org/officeDocument/2006/relationships/tags" Target="../tags/tag554.xml"/><Relationship Id="rId1" Type="http://schemas.openxmlformats.org/officeDocument/2006/relationships/tags" Target="../tags/tag553.xml"/><Relationship Id="rId6" Type="http://schemas.openxmlformats.org/officeDocument/2006/relationships/tags" Target="../tags/tag558.xml"/><Relationship Id="rId5" Type="http://schemas.openxmlformats.org/officeDocument/2006/relationships/tags" Target="../tags/tag557.xml"/><Relationship Id="rId4" Type="http://schemas.openxmlformats.org/officeDocument/2006/relationships/tags" Target="../tags/tag556.xml"/><Relationship Id="rId9" Type="http://schemas.openxmlformats.org/officeDocument/2006/relationships/image" Target="../media/image23.emf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wmf"/><Relationship Id="rId3" Type="http://schemas.openxmlformats.org/officeDocument/2006/relationships/tags" Target="../tags/tag561.xml"/><Relationship Id="rId7" Type="http://schemas.openxmlformats.org/officeDocument/2006/relationships/image" Target="../media/image23.emf"/><Relationship Id="rId2" Type="http://schemas.openxmlformats.org/officeDocument/2006/relationships/tags" Target="../tags/tag560.xml"/><Relationship Id="rId1" Type="http://schemas.openxmlformats.org/officeDocument/2006/relationships/tags" Target="../tags/tag559.xml"/><Relationship Id="rId6" Type="http://schemas.openxmlformats.org/officeDocument/2006/relationships/oleObject" Target="../embeddings/oleObject102.bin"/><Relationship Id="rId5" Type="http://schemas.openxmlformats.org/officeDocument/2006/relationships/slideMaster" Target="../slideMasters/slideMaster13.xml"/><Relationship Id="rId4" Type="http://schemas.openxmlformats.org/officeDocument/2006/relationships/tags" Target="../tags/tag56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564.xml"/><Relationship Id="rId4" Type="http://schemas.openxmlformats.org/officeDocument/2006/relationships/image" Target="../media/image26.emf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587.xml"/><Relationship Id="rId7" Type="http://schemas.openxmlformats.org/officeDocument/2006/relationships/oleObject" Target="../embeddings/oleObject106.bin"/><Relationship Id="rId2" Type="http://schemas.openxmlformats.org/officeDocument/2006/relationships/tags" Target="../tags/tag586.xml"/><Relationship Id="rId1" Type="http://schemas.openxmlformats.org/officeDocument/2006/relationships/tags" Target="../tags/tag585.x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589.xml"/><Relationship Id="rId4" Type="http://schemas.openxmlformats.org/officeDocument/2006/relationships/tags" Target="../tags/tag588.xml"/><Relationship Id="rId9" Type="http://schemas.openxmlformats.org/officeDocument/2006/relationships/image" Target="../media/image50.emf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5.xml"/><Relationship Id="rId3" Type="http://schemas.openxmlformats.org/officeDocument/2006/relationships/tags" Target="../tags/tag592.xml"/><Relationship Id="rId7" Type="http://schemas.openxmlformats.org/officeDocument/2006/relationships/tags" Target="../tags/tag596.xml"/><Relationship Id="rId2" Type="http://schemas.openxmlformats.org/officeDocument/2006/relationships/tags" Target="../tags/tag591.xml"/><Relationship Id="rId1" Type="http://schemas.openxmlformats.org/officeDocument/2006/relationships/tags" Target="../tags/tag590.xml"/><Relationship Id="rId6" Type="http://schemas.openxmlformats.org/officeDocument/2006/relationships/tags" Target="../tags/tag595.xml"/><Relationship Id="rId5" Type="http://schemas.openxmlformats.org/officeDocument/2006/relationships/tags" Target="../tags/tag594.xml"/><Relationship Id="rId10" Type="http://schemas.openxmlformats.org/officeDocument/2006/relationships/image" Target="../media/image21.emf"/><Relationship Id="rId4" Type="http://schemas.openxmlformats.org/officeDocument/2006/relationships/tags" Target="../tags/tag593.xml"/><Relationship Id="rId9" Type="http://schemas.openxmlformats.org/officeDocument/2006/relationships/oleObject" Target="../embeddings/oleObject10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619.xml"/><Relationship Id="rId7" Type="http://schemas.openxmlformats.org/officeDocument/2006/relationships/tags" Target="../tags/tag623.xml"/><Relationship Id="rId2" Type="http://schemas.openxmlformats.org/officeDocument/2006/relationships/tags" Target="../tags/tag618.xml"/><Relationship Id="rId1" Type="http://schemas.openxmlformats.org/officeDocument/2006/relationships/tags" Target="../tags/tag617.xml"/><Relationship Id="rId6" Type="http://schemas.openxmlformats.org/officeDocument/2006/relationships/tags" Target="../tags/tag622.xml"/><Relationship Id="rId5" Type="http://schemas.openxmlformats.org/officeDocument/2006/relationships/tags" Target="../tags/tag621.xml"/><Relationship Id="rId10" Type="http://schemas.openxmlformats.org/officeDocument/2006/relationships/image" Target="../media/image21.emf"/><Relationship Id="rId4" Type="http://schemas.openxmlformats.org/officeDocument/2006/relationships/tags" Target="../tags/tag620.xml"/><Relationship Id="rId9" Type="http://schemas.openxmlformats.org/officeDocument/2006/relationships/oleObject" Target="../embeddings/oleObject109.bin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tags" Target="../tags/tag631.xml"/><Relationship Id="rId3" Type="http://schemas.openxmlformats.org/officeDocument/2006/relationships/tags" Target="../tags/tag626.xml"/><Relationship Id="rId7" Type="http://schemas.openxmlformats.org/officeDocument/2006/relationships/tags" Target="../tags/tag630.xml"/><Relationship Id="rId2" Type="http://schemas.openxmlformats.org/officeDocument/2006/relationships/tags" Target="../tags/tag625.xml"/><Relationship Id="rId1" Type="http://schemas.openxmlformats.org/officeDocument/2006/relationships/tags" Target="../tags/tag624.xml"/><Relationship Id="rId6" Type="http://schemas.openxmlformats.org/officeDocument/2006/relationships/tags" Target="../tags/tag629.xml"/><Relationship Id="rId11" Type="http://schemas.openxmlformats.org/officeDocument/2006/relationships/image" Target="../media/image21.emf"/><Relationship Id="rId5" Type="http://schemas.openxmlformats.org/officeDocument/2006/relationships/tags" Target="../tags/tag628.xml"/><Relationship Id="rId10" Type="http://schemas.openxmlformats.org/officeDocument/2006/relationships/oleObject" Target="../embeddings/oleObject110.bin"/><Relationship Id="rId4" Type="http://schemas.openxmlformats.org/officeDocument/2006/relationships/tags" Target="../tags/tag627.xml"/><Relationship Id="rId9" Type="http://schemas.openxmlformats.org/officeDocument/2006/relationships/slideMaster" Target="../slideMasters/slideMaster1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22.w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3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23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23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23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24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2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24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21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24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2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2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5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24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21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10" Type="http://schemas.openxmlformats.org/officeDocument/2006/relationships/image" Target="../media/image22.wmf"/><Relationship Id="rId4" Type="http://schemas.openxmlformats.org/officeDocument/2006/relationships/tags" Target="../tags/tag102.xml"/><Relationship Id="rId9" Type="http://schemas.openxmlformats.org/officeDocument/2006/relationships/image" Target="../media/image23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wmf"/><Relationship Id="rId3" Type="http://schemas.openxmlformats.org/officeDocument/2006/relationships/tags" Target="../tags/tag107.xml"/><Relationship Id="rId7" Type="http://schemas.openxmlformats.org/officeDocument/2006/relationships/image" Target="../media/image23.emf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5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Relationship Id="rId4" Type="http://schemas.openxmlformats.org/officeDocument/2006/relationships/image" Target="../media/image26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Relationship Id="rId4" Type="http://schemas.openxmlformats.org/officeDocument/2006/relationships/image" Target="../media/image2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0981E17-5695-435B-969A-5EECE71028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1704030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523DD328-9428-4A62-9563-5F3EC36C15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975292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311902" indent="-311902">
              <a:spcAft>
                <a:spcPts val="0"/>
              </a:spcAft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311902" indent="-311902">
              <a:spcAft>
                <a:spcPts val="1455"/>
              </a:spcAft>
              <a:buSzPct val="100000"/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684828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06527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8728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72776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0312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715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19953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4746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5647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58415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6701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11042887" cy="3007436"/>
          </a:xfrm>
        </p:spPr>
        <p:txBody>
          <a:bodyPr wrap="square" numCol="2" spcCol="756000">
            <a:noAutofit/>
          </a:bodyPr>
          <a:lstStyle>
            <a:lvl1pPr marL="311902" indent="-311902">
              <a:spcAft>
                <a:spcPts val="0"/>
              </a:spcAft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311902" indent="-311902">
              <a:spcAft>
                <a:spcPts val="1455"/>
              </a:spcAft>
              <a:buSzPct val="100000"/>
              <a:buFont typeface="+mj-lt"/>
              <a:buAutoNum type="arabicPeriod"/>
              <a:defRPr sz="1940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835491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63D28E-A044-4A27-8E65-0B05919B75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477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63D28E-A044-4A27-8E65-0B05919B7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8485286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7422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49680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2">
            <a:extLst>
              <a:ext uri="{FF2B5EF4-FFF2-40B4-BE49-F238E27FC236}">
                <a16:creationId xmlns:a16="http://schemas.microsoft.com/office/drawing/2014/main" id="{5672EE7C-5593-4A9A-BC0F-E595ED6B78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445" r="22892"/>
          <a:stretch/>
        </p:blipFill>
        <p:spPr>
          <a:xfrm>
            <a:off x="2" y="1250831"/>
            <a:ext cx="12115799" cy="5607171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454732" y="3325737"/>
            <a:ext cx="8059200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n-US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454732" y="2908028"/>
            <a:ext cx="8059200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 rtl="0"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452819" y="2299063"/>
            <a:ext cx="8061113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 rtl="0">
              <a:defRPr lang="en-US" sz="3400" b="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object 48">
            <a:extLst>
              <a:ext uri="{FF2B5EF4-FFF2-40B4-BE49-F238E27FC236}">
                <a16:creationId xmlns:a16="http://schemas.microsoft.com/office/drawing/2014/main" id="{665488EB-B4AF-424C-8B8E-F166C58CDE6B}"/>
              </a:ext>
            </a:extLst>
          </p:cNvPr>
          <p:cNvSpPr/>
          <p:nvPr userDrawn="1"/>
        </p:nvSpPr>
        <p:spPr>
          <a:xfrm>
            <a:off x="4736894" y="3239992"/>
            <a:ext cx="6777039" cy="0"/>
          </a:xfrm>
          <a:custGeom>
            <a:avLst/>
            <a:gdLst/>
            <a:ahLst/>
            <a:cxnLst/>
            <a:rect l="l" t="t" r="r" b="b"/>
            <a:pathLst>
              <a:path w="7228840">
                <a:moveTo>
                  <a:pt x="7228433" y="0"/>
                </a:moveTo>
                <a:lnTo>
                  <a:pt x="0" y="0"/>
                </a:lnTo>
              </a:path>
            </a:pathLst>
          </a:custGeom>
          <a:ln w="11074">
            <a:solidFill>
              <a:srgbClr val="0A3B5D"/>
            </a:solidFill>
          </a:ln>
        </p:spPr>
        <p:txBody>
          <a:bodyPr wrap="square" lIns="0" tIns="0" rIns="0" bIns="0" rtlCol="0"/>
          <a:lstStyle/>
          <a:p>
            <a:pPr rtl="0"/>
            <a:endParaRPr lang="en-US" sz="949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AC1DDC-9983-4E91-A555-DDE26FCBF8A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3705" y="390387"/>
            <a:ext cx="2370228" cy="71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17824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352389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743208-2407-42A5-AA96-0B30899A9C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7" y="700200"/>
            <a:ext cx="938359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341253"/>
            <a:ext cx="9383591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2724817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7848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8" cy="677108"/>
          </a:xfr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DBFD452A-7576-4F46-8665-D1DE023BA0B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6627915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36950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FDF5F6E-91B7-43FD-B50F-BF43CDA9D0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90450"/>
            <a:ext cx="5065776" cy="677108"/>
          </a:xfr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34C43707-243A-4B82-A433-3D76C6C44F9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8013394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019907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6BAF-DF7E-4BB6-8200-BAE77C25D7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:a16="http://schemas.microsoft.com/office/drawing/2014/main" id="{E95CB001-7CF4-4447-85B2-B918C51B157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745736"/>
            <a:ext cx="11082528" cy="512064"/>
          </a:xfrm>
        </p:spPr>
        <p:txBody>
          <a:bodyPr vert="horz"/>
          <a:lstStyle>
            <a:lvl1pPr rtl="0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6FE1FF87-A5BB-4972-8F6E-73AA93FD3E6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7C40733-AAB6-4B1C-9ABF-846569264BB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AEC1D3AA-53C7-47C5-BE66-9A4E2FBA25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719492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305501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1939BA-D839-448F-8D61-AD5761E2CB6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05712" y="3624035"/>
            <a:ext cx="9180576" cy="387607"/>
          </a:xfrm>
        </p:spPr>
        <p:txBody>
          <a:bodyPr vert="horz" anchor="ctr" anchorCtr="0">
            <a:spAutoFit/>
          </a:bodyPr>
          <a:lstStyle>
            <a:lvl1pPr rtl="0">
              <a:lnSpc>
                <a:spcPct val="105000"/>
              </a:lnSpc>
              <a:defRPr sz="2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7A9E095-FC96-4C0B-867D-6BB4938E7CF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1"/>
            <a:ext cx="918057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66AA477A-2870-4EE9-86E9-448D3B9BAF8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C9713CF-4FEA-4739-B0A0-6B196442AEE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790D93CF-2194-425F-AAE7-7E95E0D41D2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4779345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23368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994B40-DF0F-4EE0-8098-73DBD5C3F7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blackGray">
          <a:xfrm>
            <a:off x="3413760" y="0"/>
            <a:ext cx="8778240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BE2CCBC0-C6F2-40FC-91A9-0C10FE38C17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9F708C6A-D479-4069-A9A4-83FF75AB1F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B4346E96-C3E8-46FB-BCEE-337A16EDA72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E3A7A17A-7264-4CB6-BEBA-3DA31FC9D8E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502262"/>
            <a:ext cx="2514600" cy="1015663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3. Subtitle">
            <a:extLst>
              <a:ext uri="{FF2B5EF4-FFF2-40B4-BE49-F238E27FC236}">
                <a16:creationId xmlns:a16="http://schemas.microsoft.com/office/drawing/2014/main" id="{B549B1F6-9ABB-4261-B178-3A39897B743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36553"/>
            <a:ext cx="25146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rtl="0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1CFF1E9-D1B9-49C8-AD7F-66FF8F97C2F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813" y="417052"/>
            <a:ext cx="1450451" cy="43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01037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422083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30D7698A-7001-41A3-B997-323E2D93DC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blackGray">
          <a:xfrm>
            <a:off x="4364736" y="0"/>
            <a:ext cx="7827264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651B55C-2BB4-4B97-AB75-E0B9805CD7F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2840816"/>
            <a:ext cx="3476007" cy="677108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FD54F44A-AA88-4B28-88CB-9DD6BDA16D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B6625F33-AC09-42F0-937C-EF28C6A64BF2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7" y="3636553"/>
            <a:ext cx="3476007" cy="49244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 rtl="0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17B738CB-491A-4F87-A452-8F7664AC00A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77E60046-B0F2-4032-B67C-0B786DF6D72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8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351650A-669E-44B3-8DB3-D52A65834EC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813" y="417052"/>
            <a:ext cx="1450451" cy="43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9112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with tim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Agenda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A335A19B-4A16-3443-B357-10DDCD6808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1477" y="2016928"/>
            <a:ext cx="11049260" cy="3837084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940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940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pPr lvl="0"/>
            <a:r>
              <a:rPr lang="en-GB" dirty="0"/>
              <a:t>09.00 – 12.30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0"/>
            <a:r>
              <a:rPr lang="en-GB" dirty="0"/>
              <a:t>09.00 – 12.30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0"/>
            <a:r>
              <a:rPr lang="en-GB" dirty="0"/>
              <a:t>09.00 – 12.30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0"/>
            <a:r>
              <a:rPr lang="en-GB" dirty="0"/>
              <a:t>09.00 – 12.30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0"/>
            <a:r>
              <a:rPr lang="en-GB" dirty="0"/>
              <a:t>09.00 – 12.30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  <a:p>
            <a:pPr lvl="0"/>
            <a:r>
              <a:rPr lang="en-GB" dirty="0"/>
              <a:t>09.00 – 12.30</a:t>
            </a:r>
          </a:p>
          <a:p>
            <a:pPr lvl="1"/>
            <a:r>
              <a:rPr lang="en-GB" dirty="0"/>
              <a:t>Lorem ipsum </a:t>
            </a:r>
            <a:r>
              <a:rPr lang="en-GB" dirty="0" err="1"/>
              <a:t>dolor</a:t>
            </a:r>
            <a:r>
              <a:rPr lang="en-GB" dirty="0"/>
              <a:t> sit </a:t>
            </a:r>
            <a:r>
              <a:rPr lang="en-GB" dirty="0" err="1"/>
              <a:t>amet</a:t>
            </a:r>
            <a:r>
              <a:rPr lang="en-GB" dirty="0"/>
              <a:t>, </a:t>
            </a:r>
            <a:r>
              <a:rPr lang="en-GB" dirty="0" err="1"/>
              <a:t>consectetue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en-GB" dirty="0"/>
              <a:t> </a:t>
            </a:r>
            <a:r>
              <a:rPr lang="en-GB" dirty="0" err="1"/>
              <a:t>elit</a:t>
            </a:r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4756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72041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2B0F6C8D-341F-4814-96BB-29FC10D2EF5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41253"/>
            <a:ext cx="5065355" cy="338554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B572EDC7-C71E-4653-8B45-98200D2A2406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700200"/>
            <a:ext cx="506535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189FC83F-F940-442F-8A4B-3FFD875A4CE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E09F4F74-3D0C-454F-90B8-46A6D49702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3EBEC487-E203-4501-B74B-20A195B61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809D7CF-DB3B-4386-9856-F7FA5814ED82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813" y="417052"/>
            <a:ext cx="1450451" cy="43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19842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02282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DF5CE8-D561-43C7-AB94-A5D89A58CD8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33FF5EC3-46BD-46CE-A648-E0D5BD8A7955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341253"/>
            <a:ext cx="6967303" cy="338554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DE5AF8B1-ED0D-40CB-9EF1-4F440D40AFF1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700200"/>
            <a:ext cx="6967303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0151F0BA-80A8-4F21-BC61-52898A9C097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875DC29B-6DD3-47B0-9E0E-DA13951E7FC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40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7E37A160-4176-412C-BCA5-D6D484A4786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33CEC4-3DDC-468C-9B12-FE66F60D9CF5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813" y="417052"/>
            <a:ext cx="1450451" cy="43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4727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32598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B8AD3-3DED-4C3C-8856-6127F6F359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41253"/>
            <a:ext cx="7918704" cy="338554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70020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0F3E7B1-38C8-4558-A8C6-99F73B7D438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6B35700B-E29E-4473-83F7-428A9BD527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138FF70-70F6-4227-93B2-0C374EF9ACE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813" y="417052"/>
            <a:ext cx="1450451" cy="43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15303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241371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72" imgH="588" progId="TCLayout.ActiveDocument.1">
                  <p:embed/>
                </p:oleObj>
              </mc:Choice>
              <mc:Fallback>
                <p:oleObj name="think-cell Slide" r:id="rId8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61CA95-BAC8-4094-B77C-B413C63AA45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41253"/>
            <a:ext cx="9260440" cy="338554"/>
          </a:xfrm>
        </p:spPr>
        <p:txBody>
          <a:bodyPr vert="horz" wrap="square">
            <a:spAutoFit/>
          </a:bodyPr>
          <a:lstStyle>
            <a:lvl1pPr algn="l" defTabSz="68578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200" b="1" kern="1200" spc="0" baseline="0" dirty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F5AB69F0-0252-4F2C-9F5C-D4F8BF35BCB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algn="r" defTabSz="458047" rtl="0" eaLnBrk="1" fontAlgn="auto" latinLnBrk="0" hangingPunct="1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kern="12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marL="0" algn="r" defTabSz="458047" rtl="0" eaLnBrk="1" fontAlgn="auto" latinLnBrk="0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3C08BE2-DFA5-4DF3-81CF-C757EBD94F2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8405CF1-D258-4E67-9A34-3BFB1C62721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813" y="417052"/>
            <a:ext cx="1450451" cy="43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8153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559164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id="{E008B892-7EEF-40A7-8714-CA703035E127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ltGray">
          <a:xfrm>
            <a:off x="11301984" y="6501601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047C437-9378-4088-A289-F201ABA447D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3466FD6-8B1B-4475-91E8-628347B1708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813" y="417052"/>
            <a:ext cx="1450451" cy="43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1786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407337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1385EB-8C85-49F1-A361-B69B75B24FB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4098" y="2868117"/>
            <a:ext cx="3743805" cy="1121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02111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Layou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999866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72" imgH="588" progId="TCLayout.ActiveDocument.1">
                  <p:embed/>
                </p:oleObj>
              </mc:Choice>
              <mc:Fallback>
                <p:oleObj name="think-cell Slide" r:id="rId8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E9CE24E-6D34-439D-B8A7-14907C7306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  <a:sym typeface="Ebrima" panose="02000000000000000000" pitchFamily="2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89821" y="1084990"/>
            <a:ext cx="11208464" cy="312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2000" dirty="0"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89821" y="631244"/>
            <a:ext cx="11208464" cy="430887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89824" y="6501672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  <a:sym typeface="Calibri" panose="020F050202020403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89821" y="41599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Calibri" panose="020F0502020204030204" pitchFamily="34" charset="0"/>
                <a:cs typeface="+mn-cs"/>
                <a:sym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2382833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Layou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8278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69332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572144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587340" y="6522779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29534"/>
            <a:ext cx="7277861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0513050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Layou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84876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50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338554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572144"/>
            <a:ext cx="7918704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6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9"/>
            <a:ext cx="3843339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7F1AC84-6DFB-4987-8CB6-D62E3F5563A0}"/>
              </a:ext>
            </a:extLst>
          </p:cNvPr>
          <p:cNvSpPr/>
          <p:nvPr userDrawn="1"/>
        </p:nvSpPr>
        <p:spPr>
          <a:xfrm>
            <a:off x="11541436" y="6348749"/>
            <a:ext cx="417307" cy="417306"/>
          </a:xfrm>
          <a:prstGeom prst="ellipse">
            <a:avLst/>
          </a:prstGeom>
          <a:solidFill>
            <a:srgbClr val="F4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350" b="0" i="0" dirty="0"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587340" y="6522779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458058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675" b="0" noProof="0" smtClean="0">
                <a:cs typeface="Arial" panose="020B0604020202020204" pitchFamily="34" charset="0"/>
              </a:rPr>
              <a:pPr lvl="0" algn="ctr" defTabSz="45805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675" b="0" noProof="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898025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877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1232602" y="6233090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1232602" y="5723246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1232602" y="4505517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579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endParaRPr lang="en-GB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342856"/>
            <a:ext cx="7200250" cy="3274256"/>
          </a:xfrm>
        </p:spPr>
        <p:txBody>
          <a:bodyPr wrap="square" numCol="2" spcCol="75600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334" b="0" i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1455"/>
              </a:spcAft>
              <a:buFont typeface="Arial" panose="020B0604020202020204" pitchFamily="34" charset="0"/>
              <a:buNone/>
              <a:defRPr sz="1334" b="0" i="0">
                <a:latin typeface="Poppins Medium" pitchFamily="2" charset="77"/>
                <a:cs typeface="Poppins Medium" pitchFamily="2" charset="77"/>
              </a:defRPr>
            </a:lvl2pPr>
            <a:lvl5pPr>
              <a:defRPr/>
            </a:lvl5pPr>
          </a:lstStyle>
          <a:p>
            <a:r>
              <a:rPr lang="en-GB" dirty="0"/>
              <a:t>Section #</a:t>
            </a:r>
          </a:p>
          <a:p>
            <a:pPr lvl="1"/>
            <a:r>
              <a:rPr lang="en-GB" b="1" dirty="0"/>
              <a:t>Section # Title Goes Here</a:t>
            </a:r>
            <a:r>
              <a:rPr lang="en-GB" dirty="0"/>
              <a:t>		##</a:t>
            </a:r>
          </a:p>
          <a:p>
            <a:r>
              <a:rPr lang="en-GB" dirty="0"/>
              <a:t>Section #</a:t>
            </a:r>
          </a:p>
          <a:p>
            <a:pPr lvl="1"/>
            <a:r>
              <a:rPr lang="en-GB" b="1" dirty="0"/>
              <a:t>Section # Title Goes Here</a:t>
            </a:r>
            <a:r>
              <a:rPr lang="en-GB" dirty="0"/>
              <a:t>		##</a:t>
            </a:r>
          </a:p>
          <a:p>
            <a:r>
              <a:rPr lang="en-GB" dirty="0"/>
              <a:t>Section #</a:t>
            </a:r>
          </a:p>
          <a:p>
            <a:pPr lvl="1"/>
            <a:r>
              <a:rPr lang="en-GB" b="1" dirty="0"/>
              <a:t>Section # Title Goes Here</a:t>
            </a:r>
            <a:r>
              <a:rPr lang="en-GB" dirty="0"/>
              <a:t>		##</a:t>
            </a:r>
          </a:p>
          <a:p>
            <a:r>
              <a:rPr lang="en-GB" dirty="0"/>
              <a:t>Section #</a:t>
            </a:r>
          </a:p>
          <a:p>
            <a:pPr lvl="1"/>
            <a:r>
              <a:rPr lang="en-GB" b="1" dirty="0"/>
              <a:t>Section # Title Goes Here</a:t>
            </a:r>
            <a:r>
              <a:rPr lang="en-GB" dirty="0"/>
              <a:t>		##</a:t>
            </a:r>
          </a:p>
          <a:p>
            <a:r>
              <a:rPr lang="en-GB" dirty="0"/>
              <a:t>Section #</a:t>
            </a:r>
          </a:p>
          <a:p>
            <a:pPr lvl="1"/>
            <a:r>
              <a:rPr lang="en-GB" b="1" dirty="0"/>
              <a:t>Section # Title Goes Here</a:t>
            </a:r>
            <a:r>
              <a:rPr lang="en-GB" dirty="0"/>
              <a:t>		##</a:t>
            </a:r>
          </a:p>
          <a:p>
            <a:r>
              <a:rPr lang="en-GB" dirty="0"/>
              <a:t>Section #</a:t>
            </a:r>
          </a:p>
          <a:p>
            <a:pPr lvl="1"/>
            <a:r>
              <a:rPr lang="en-GB" b="1" dirty="0"/>
              <a:t>Section # Title Goes Here</a:t>
            </a:r>
            <a:r>
              <a:rPr lang="en-GB" dirty="0"/>
              <a:t>		##</a:t>
            </a:r>
          </a:p>
          <a:p>
            <a:r>
              <a:rPr lang="en-GB" dirty="0"/>
              <a:t>Section #</a:t>
            </a:r>
          </a:p>
          <a:p>
            <a:pPr lvl="1"/>
            <a:r>
              <a:rPr lang="en-GB" b="1" dirty="0"/>
              <a:t>Section # Title Goes Here</a:t>
            </a:r>
            <a:r>
              <a:rPr lang="en-GB" dirty="0"/>
              <a:t>		##</a:t>
            </a:r>
          </a:p>
          <a:p>
            <a:r>
              <a:rPr lang="en-GB" dirty="0"/>
              <a:t>Section #</a:t>
            </a:r>
          </a:p>
          <a:p>
            <a:pPr lvl="1"/>
            <a:r>
              <a:rPr lang="en-GB" b="1" dirty="0"/>
              <a:t>Section # Title Goes Here</a:t>
            </a:r>
            <a:r>
              <a:rPr lang="en-GB" dirty="0"/>
              <a:t>		##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31806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66912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747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518516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836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052CCADB-EF08-41D8-B6E1-D27B7E0CA8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AB8E3C2-1F42-4CE8-A611-D37D46F00C3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7207589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938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833F473-8E59-4468-9DAD-5B5B823CD8A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1C278EA2-839A-4B80-8F09-FF155A2123C1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3220718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044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8173826E-A3CF-41AB-8957-9F0B784D192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0930069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460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8A594FF-AF94-4CAC-90E6-2B9A5AB30B1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0964181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2370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5404329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6565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31307752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394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5065776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506577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C5A0E3B7-0BEE-434E-9458-04AAF89FE7C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7252884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637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967728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967728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87C6732C-210A-4A2A-BDB7-ADAA15286F6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8212192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121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918704" cy="384721"/>
          </a:xfrm>
        </p:spPr>
        <p:txBody>
          <a:bodyPr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F93AA1E-3DA8-4E28-9E67-7940FA5E753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055304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F0E35ECD-3ED9-473D-9E17-FF1C83FE9F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Team/Speakers</a:t>
            </a:r>
            <a:endParaRPr lang="en-GB" dirty="0"/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67EAA926-4051-4F98-B128-E26790C1A9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53" name="Picture Placeholder 7">
            <a:extLst>
              <a:ext uri="{FF2B5EF4-FFF2-40B4-BE49-F238E27FC236}">
                <a16:creationId xmlns:a16="http://schemas.microsoft.com/office/drawing/2014/main" id="{3BD0D2FB-1A7B-44AF-BA4E-FD97B0B714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4" name="Text Placeholder 12">
            <a:extLst>
              <a:ext uri="{FF2B5EF4-FFF2-40B4-BE49-F238E27FC236}">
                <a16:creationId xmlns:a16="http://schemas.microsoft.com/office/drawing/2014/main" id="{4A124E16-FB5A-4A88-A515-FC70FA25544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11458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55" name="Picture Placeholder 7">
            <a:extLst>
              <a:ext uri="{FF2B5EF4-FFF2-40B4-BE49-F238E27FC236}">
                <a16:creationId xmlns:a16="http://schemas.microsoft.com/office/drawing/2014/main" id="{88D60E5C-AB30-4F0B-8773-F30DB3E8A6A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6" name="Text Placeholder 12">
            <a:extLst>
              <a:ext uri="{FF2B5EF4-FFF2-40B4-BE49-F238E27FC236}">
                <a16:creationId xmlns:a16="http://schemas.microsoft.com/office/drawing/2014/main" id="{2C60DE2D-43F7-4A13-BE4E-B64A383DE8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29820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57" name="Picture Placeholder 7">
            <a:extLst>
              <a:ext uri="{FF2B5EF4-FFF2-40B4-BE49-F238E27FC236}">
                <a16:creationId xmlns:a16="http://schemas.microsoft.com/office/drawing/2014/main" id="{5B1E1242-6BB9-4F32-91B1-3AA43FC4EC9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8" name="Text Placeholder 12">
            <a:extLst>
              <a:ext uri="{FF2B5EF4-FFF2-40B4-BE49-F238E27FC236}">
                <a16:creationId xmlns:a16="http://schemas.microsoft.com/office/drawing/2014/main" id="{C8B338B9-D1F9-4987-BC28-B7466CCC38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29820" y="4501859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59" name="Picture Placeholder 7">
            <a:extLst>
              <a:ext uri="{FF2B5EF4-FFF2-40B4-BE49-F238E27FC236}">
                <a16:creationId xmlns:a16="http://schemas.microsoft.com/office/drawing/2014/main" id="{CED5980C-4EBB-4601-BF07-F911191638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078842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040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4680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4F8C1CD-74D5-434C-83F8-B9C7DBB2E26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77681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313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3B3D990-55D1-4D16-8683-4CED248BB7F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B6A47C52-89C8-4B79-B4A2-FE61BCC240A9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631B731-7D3D-4CDD-91A3-61B827F06619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060029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852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E320337-4448-4A41-97CD-D612E7679AE8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94540B-7619-4C7B-9C99-2940C1B16A7F}"/>
              </a:ext>
            </a:extLst>
          </p:cNvPr>
          <p:cNvSpPr txBox="1"/>
          <p:nvPr userDrawn="1"/>
        </p:nvSpPr>
        <p:spPr bwMode="auto">
          <a:xfrm>
            <a:off x="4064000" y="5428664"/>
            <a:ext cx="406400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n-US" sz="3600" b="1" dirty="0">
                <a:solidFill>
                  <a:srgbClr val="E6D2C8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01223178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2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0641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90F59DA-25A3-F14E-A463-918F4C0183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330" y="1668217"/>
            <a:ext cx="5319246" cy="40684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C77F5A8-3CBB-5F43-8C9C-BD95C75189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73365" y="1668217"/>
            <a:ext cx="5319246" cy="406841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CFF1C99E-F26C-8B48-9830-A731A6CD669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2091" y="246579"/>
            <a:ext cx="3782308" cy="290352"/>
          </a:xfrm>
          <a:prstGeom prst="rect">
            <a:avLst/>
          </a:prstGeom>
        </p:spPr>
        <p:txBody>
          <a:bodyPr rIns="0" anchor="t">
            <a:normAutofit/>
          </a:bodyPr>
          <a:lstStyle>
            <a:lvl1pPr algn="l">
              <a:buNone/>
              <a:defRPr sz="1200" b="0" i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name 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24F3FBC-0E6C-C449-A900-102CABF0C5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4535" y="224520"/>
            <a:ext cx="428609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400" b="1">
                <a:solidFill>
                  <a:schemeClr val="accent2"/>
                </a:solidFill>
              </a:defRPr>
            </a:lvl1pPr>
          </a:lstStyle>
          <a:p>
            <a:fld id="{5C7892DB-DEDB-A440-9305-CDECCE7FBDC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47B00D-C86A-D947-9782-3D7CB86D7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3D1483-BD68-B846-8EF9-8AF25AA82476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377272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A75B8BC-6ADC-BC40-8446-A30BADE3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8048612" cy="53798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ED4E4DF-40A8-BA46-8009-C8DA367598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0130" y="1775793"/>
            <a:ext cx="7155603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5DA822C1-B4F8-F446-AC19-7FDBBA08DC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EBE7F3-63AB-E74B-BC4F-2742BEF2D331}"/>
              </a:ext>
            </a:extLst>
          </p:cNvPr>
          <p:cNvSpPr/>
          <p:nvPr userDrawn="1"/>
        </p:nvSpPr>
        <p:spPr bwMode="white">
          <a:xfrm>
            <a:off x="0" y="6739466"/>
            <a:ext cx="12192000" cy="11853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371C2BB-1BB7-454E-92E1-8638963A99C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9AB4EE-B21D-804A-9B41-27C28463175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algn="l"/>
            <a:r>
              <a:rPr lang="en-US" dirty="0"/>
              <a:t>| </a:t>
            </a:r>
            <a:fld id="{5C7892DB-DEDB-A440-9305-CDECCE7FBDC0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13" name="Text Placeholder 27">
            <a:extLst>
              <a:ext uri="{FF2B5EF4-FFF2-40B4-BE49-F238E27FC236}">
                <a16:creationId xmlns:a16="http://schemas.microsoft.com/office/drawing/2014/main" id="{C35DBD1C-00BB-3440-8810-00B944ACC2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8553" y="246579"/>
            <a:ext cx="4896556" cy="290352"/>
          </a:xfrm>
        </p:spPr>
        <p:txBody>
          <a:bodyPr rIns="0" anchor="t">
            <a:normAutofit/>
          </a:bodyPr>
          <a:lstStyle>
            <a:lvl1pPr algn="l">
              <a:buNone/>
              <a:defRPr sz="1200" b="0">
                <a:latin typeface="+mn-lt"/>
              </a:defRPr>
            </a:lvl1pPr>
          </a:lstStyle>
          <a:p>
            <a:r>
              <a:rPr lang="en-US"/>
              <a:t>Country Readiness and Delivery Work Stream - XXX Working Group</a:t>
            </a:r>
          </a:p>
        </p:txBody>
      </p:sp>
    </p:spTree>
    <p:extLst>
      <p:ext uri="{BB962C8B-B14F-4D97-AF65-F5344CB8AC3E}">
        <p14:creationId xmlns:p14="http://schemas.microsoft.com/office/powerpoint/2010/main" val="2472368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0E369A-2421-2B45-B472-43E528F9CE5B}"/>
              </a:ext>
            </a:extLst>
          </p:cNvPr>
          <p:cNvSpPr/>
          <p:nvPr userDrawn="1"/>
        </p:nvSpPr>
        <p:spPr bwMode="white">
          <a:xfrm>
            <a:off x="9703398" y="-1309"/>
            <a:ext cx="2488601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4835" y="224520"/>
            <a:ext cx="428609" cy="365125"/>
          </a:xfrm>
        </p:spPr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822AC9-3D76-014E-9DBC-100BFFA8B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0130" y="1775793"/>
            <a:ext cx="5530003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26C4B127-E7E0-444A-BB78-D7577CB04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03FEE-A3D3-904A-9106-278392AB5A3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3C4827F-4A69-E545-86C7-79E41B9D1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2" y="805392"/>
            <a:ext cx="9006511" cy="537986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378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A75B8BC-6ADC-BC40-8446-A30BADE3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8048612" cy="537986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7354E78C-9ECD-4348-AC32-5470CF79DB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97A7AC-0BD6-5A4F-BCBF-85A20F352B9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2D4D8F-899D-B346-BB13-725965F80D20}"/>
              </a:ext>
            </a:extLst>
          </p:cNvPr>
          <p:cNvSpPr/>
          <p:nvPr userDrawn="1"/>
        </p:nvSpPr>
        <p:spPr bwMode="white">
          <a:xfrm>
            <a:off x="0" y="6739466"/>
            <a:ext cx="12192000" cy="11853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880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7947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E06B387-453E-41B1-AF78-A5B50AEC8B7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4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5" name="Picture 433" descr="Image result for who logo">
            <a:extLst>
              <a:ext uri="{FF2B5EF4-FFF2-40B4-BE49-F238E27FC236}">
                <a16:creationId xmlns:a16="http://schemas.microsoft.com/office/drawing/2014/main" id="{E6316816-7E76-4663-888E-5B2D615890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4646" y="2404315"/>
            <a:ext cx="2093215" cy="648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5" descr="UNICEF logo and symbol, meaning, history, PNG">
            <a:extLst>
              <a:ext uri="{FF2B5EF4-FFF2-40B4-BE49-F238E27FC236}">
                <a16:creationId xmlns:a16="http://schemas.microsoft.com/office/drawing/2014/main" id="{88897D4E-233A-4B9A-987A-438F624F52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646" y="4369255"/>
            <a:ext cx="2247680" cy="786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9" descr="Gavi-logo - The Rockefeller Foundation">
            <a:extLst>
              <a:ext uri="{FF2B5EF4-FFF2-40B4-BE49-F238E27FC236}">
                <a16:creationId xmlns:a16="http://schemas.microsoft.com/office/drawing/2014/main" id="{48052F97-134D-4AD3-86E9-38F11B1EE1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646" y="3371267"/>
            <a:ext cx="1811536" cy="679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56921D8E-21A6-49FA-A16F-F20396BB6FB4}"/>
              </a:ext>
            </a:extLst>
          </p:cNvPr>
          <p:cNvSpPr>
            <a:spLocks noGrp="1"/>
          </p:cNvSpPr>
          <p:nvPr>
            <p:ph type="ctrTitle"/>
          </p:nvPr>
        </p:nvSpPr>
        <p:spPr bwMode="ltGray">
          <a:xfrm>
            <a:off x="4063057" y="2182415"/>
            <a:ext cx="6608679" cy="1846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60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+mj-lt"/>
              </a:defRPr>
            </a:lvl1pPr>
          </a:lstStyle>
          <a:p>
            <a:pPr marL="0" marR="0" lvl="0" indent="0" defTabSz="913526" fontAlgn="base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>
                <a:tab pos="275353" algn="l"/>
              </a:tabLst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A18DFF61-EC18-4276-831E-B86B07A7E0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063057" y="4798790"/>
            <a:ext cx="708596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buFontTx/>
              <a:buNone/>
              <a:defRPr kumimoji="0" lang="en-US" sz="2400" b="1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+mn-lt"/>
              </a:defRPr>
            </a:lvl1pPr>
          </a:lstStyle>
          <a:p>
            <a:pPr marL="174625" marR="0" lvl="0" indent="-174625" defTabSz="913526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tabLst/>
            </a:pPr>
            <a:r>
              <a:rPr lang="en-US"/>
              <a:t>CLICK TO EDIT SUBTIT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53532A7-2238-F74F-ABE5-1308FD0ACD48}"/>
              </a:ext>
            </a:extLst>
          </p:cNvPr>
          <p:cNvCxnSpPr>
            <a:cxnSpLocks/>
          </p:cNvCxnSpPr>
          <p:nvPr userDrawn="1"/>
        </p:nvCxnSpPr>
        <p:spPr>
          <a:xfrm>
            <a:off x="4050531" y="1952979"/>
            <a:ext cx="4253948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133C611-A604-2448-A551-28AA2B2AE7F6}"/>
              </a:ext>
            </a:extLst>
          </p:cNvPr>
          <p:cNvCxnSpPr>
            <a:cxnSpLocks/>
          </p:cNvCxnSpPr>
          <p:nvPr userDrawn="1"/>
        </p:nvCxnSpPr>
        <p:spPr>
          <a:xfrm>
            <a:off x="721097" y="1952979"/>
            <a:ext cx="267081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B91C31-23A2-D84F-A360-1E4EB8421B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55454" y="1464322"/>
            <a:ext cx="4514850" cy="343217"/>
          </a:xfrm>
        </p:spPr>
        <p:txBody>
          <a:bodyPr/>
          <a:lstStyle>
            <a:lvl1pPr>
              <a:buNone/>
              <a:defRPr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0EDFF8-E00A-E342-92E2-72E7AF25BF7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44646" y="5474605"/>
            <a:ext cx="2247681" cy="668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34931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F9E554-3C1C-41B6-ADC5-76517CC50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00B3ACD-58AD-0A4C-9E87-B50CC9B09A77}"/>
              </a:ext>
            </a:extLst>
          </p:cNvPr>
          <p:cNvCxnSpPr>
            <a:cxnSpLocks/>
          </p:cNvCxnSpPr>
          <p:nvPr userDrawn="1"/>
        </p:nvCxnSpPr>
        <p:spPr>
          <a:xfrm>
            <a:off x="3626556" y="1954943"/>
            <a:ext cx="602544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AE9B02E3-263C-2843-9099-B66472AEF90A}"/>
              </a:ext>
            </a:extLst>
          </p:cNvPr>
          <p:cNvSpPr txBox="1"/>
          <p:nvPr userDrawn="1"/>
        </p:nvSpPr>
        <p:spPr>
          <a:xfrm>
            <a:off x="530578" y="2021154"/>
            <a:ext cx="2032000" cy="5414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4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enda</a:t>
            </a:r>
            <a:endParaRPr lang="en-US" sz="120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3" name="Table Placeholder 32">
            <a:extLst>
              <a:ext uri="{FF2B5EF4-FFF2-40B4-BE49-F238E27FC236}">
                <a16:creationId xmlns:a16="http://schemas.microsoft.com/office/drawing/2014/main" id="{CEDC0D77-CE5F-D64F-8526-D87E5655D22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606094" y="2119951"/>
            <a:ext cx="6012040" cy="3942181"/>
          </a:xfrm>
          <a:noFill/>
          <a:ln>
            <a:noFill/>
          </a:ln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GB"/>
              <a:t>Click icon to add table</a:t>
            </a:r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34FE0D3-7FDE-B948-8608-9FDF835D3F27}"/>
              </a:ext>
            </a:extLst>
          </p:cNvPr>
          <p:cNvCxnSpPr>
            <a:cxnSpLocks/>
          </p:cNvCxnSpPr>
          <p:nvPr userDrawn="1"/>
        </p:nvCxnSpPr>
        <p:spPr>
          <a:xfrm>
            <a:off x="709808" y="1952979"/>
            <a:ext cx="267081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2588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4F9E554-3C1C-41B6-ADC5-76517CC50A2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2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00B3ACD-58AD-0A4C-9E87-B50CC9B09A77}"/>
              </a:ext>
            </a:extLst>
          </p:cNvPr>
          <p:cNvCxnSpPr>
            <a:cxnSpLocks/>
          </p:cNvCxnSpPr>
          <p:nvPr userDrawn="1"/>
        </p:nvCxnSpPr>
        <p:spPr>
          <a:xfrm>
            <a:off x="3626556" y="1954943"/>
            <a:ext cx="602544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AE9B02E3-263C-2843-9099-B66472AEF90A}"/>
              </a:ext>
            </a:extLst>
          </p:cNvPr>
          <p:cNvSpPr txBox="1"/>
          <p:nvPr userDrawn="1"/>
        </p:nvSpPr>
        <p:spPr>
          <a:xfrm>
            <a:off x="530578" y="2021154"/>
            <a:ext cx="2032000" cy="5414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44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t</a:t>
            </a:r>
            <a:endParaRPr lang="en-US" sz="120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3" name="Table Placeholder 32">
            <a:extLst>
              <a:ext uri="{FF2B5EF4-FFF2-40B4-BE49-F238E27FC236}">
                <a16:creationId xmlns:a16="http://schemas.microsoft.com/office/drawing/2014/main" id="{CEDC0D77-CE5F-D64F-8526-D87E5655D22C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606094" y="2119951"/>
            <a:ext cx="6012040" cy="3942181"/>
          </a:xfrm>
          <a:noFill/>
          <a:ln>
            <a:noFill/>
          </a:ln>
        </p:spPr>
        <p:txBody>
          <a:bodyPr/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GB"/>
              <a:t>Click icon to add table</a:t>
            </a:r>
            <a:endParaRPr lang="en-US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34FE0D3-7FDE-B948-8608-9FDF835D3F27}"/>
              </a:ext>
            </a:extLst>
          </p:cNvPr>
          <p:cNvCxnSpPr>
            <a:cxnSpLocks/>
          </p:cNvCxnSpPr>
          <p:nvPr userDrawn="1"/>
        </p:nvCxnSpPr>
        <p:spPr>
          <a:xfrm>
            <a:off x="709808" y="1952979"/>
            <a:ext cx="267081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987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ir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Chairperson</a:t>
            </a:r>
            <a:endParaRPr lang="en-GB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A88B0FE-1A13-4CD8-8675-B560C08B33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4961"/>
            <a:ext cx="3242472" cy="724770"/>
          </a:xfrm>
        </p:spPr>
        <p:txBody>
          <a:bodyPr wrap="square" numCol="1" spcCol="756000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11944"/>
            <a:ext cx="1588608" cy="1559878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2A210F5-A8B3-4A0E-8B15-4497042C49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33079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778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A75B8BC-6ADC-BC40-8446-A30BADE3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8048612" cy="537986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7354E78C-9ECD-4348-AC32-5470CF79DB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97A7AC-0BD6-5A4F-BCBF-85A20F352B9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2D4D8F-899D-B346-BB13-725965F80D20}"/>
              </a:ext>
            </a:extLst>
          </p:cNvPr>
          <p:cNvSpPr/>
          <p:nvPr userDrawn="1"/>
        </p:nvSpPr>
        <p:spPr bwMode="white">
          <a:xfrm>
            <a:off x="0" y="6739466"/>
            <a:ext cx="12192000" cy="11853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326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A75B8BC-6ADC-BC40-8446-A30BADE3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2" y="805392"/>
            <a:ext cx="10607189" cy="53798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ED4E4DF-40A8-BA46-8009-C8DA367598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0130" y="1595170"/>
            <a:ext cx="10158138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5DA822C1-B4F8-F446-AC19-7FDBBA08DC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63014" y="246579"/>
            <a:ext cx="4923448" cy="279514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EBE7F3-63AB-E74B-BC4F-2742BEF2D331}"/>
              </a:ext>
            </a:extLst>
          </p:cNvPr>
          <p:cNvSpPr/>
          <p:nvPr userDrawn="1"/>
        </p:nvSpPr>
        <p:spPr bwMode="white">
          <a:xfrm>
            <a:off x="0" y="6739466"/>
            <a:ext cx="12192000" cy="11853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92976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2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E2F729A5-D6F3-7F43-9D4B-F88FBC9DFB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5019" y="246579"/>
            <a:ext cx="5161443" cy="317092"/>
          </a:xfrm>
        </p:spPr>
        <p:txBody>
          <a:bodyPr rIns="0" anchor="t">
            <a:normAutofit/>
          </a:bodyPr>
          <a:lstStyle>
            <a:lvl1pPr algn="r">
              <a:buNone/>
              <a:defRPr sz="1200" b="0" i="0">
                <a:latin typeface="+mn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90F59DA-25A3-F14E-A463-918F4C0183F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0130" y="1775793"/>
            <a:ext cx="4830445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C77F5A8-3CBB-5F43-8C9C-BD95C75189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72200" y="1775793"/>
            <a:ext cx="4830445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5592ACB-4EE0-FA49-A468-7B2A6221AF73}"/>
              </a:ext>
            </a:extLst>
          </p:cNvPr>
          <p:cNvSpPr/>
          <p:nvPr userDrawn="1"/>
        </p:nvSpPr>
        <p:spPr bwMode="white">
          <a:xfrm>
            <a:off x="0" y="6739466"/>
            <a:ext cx="12192000" cy="11853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6DC9CA4-2A61-AE47-A5BD-DE26FF3AC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980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2 text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1DB38B2-0368-E24D-BCA7-9A22F3C6F5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0131" y="1775793"/>
            <a:ext cx="3211830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60E3780-63D8-B44A-842E-BC8E859E9A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60571" y="1775793"/>
            <a:ext cx="3211830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EB5EC20-128B-2646-94F0-18F4ACE7459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88630" y="1775793"/>
            <a:ext cx="3211830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F71E1128-B6E4-AF41-90D1-7A1E36A7A5B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6816" y="246579"/>
            <a:ext cx="5499646" cy="279514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A2CDF3B-E28D-A549-A5A7-B7E1A1E5A035}"/>
              </a:ext>
            </a:extLst>
          </p:cNvPr>
          <p:cNvSpPr/>
          <p:nvPr userDrawn="1"/>
        </p:nvSpPr>
        <p:spPr bwMode="white">
          <a:xfrm>
            <a:off x="0" y="6739466"/>
            <a:ext cx="12192000" cy="11853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FD63F86-1F0E-0C41-96CA-7C301A7AD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604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2 text columns 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A75B8BC-6ADC-BC40-8446-A30BADE3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3701899" cy="4071408"/>
          </a:xfrm>
        </p:spPr>
        <p:txBody>
          <a:bodyPr>
            <a:noAutofit/>
          </a:bodyPr>
          <a:lstStyle>
            <a:lvl1pPr>
              <a:defRPr sz="240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7">
            <a:extLst>
              <a:ext uri="{FF2B5EF4-FFF2-40B4-BE49-F238E27FC236}">
                <a16:creationId xmlns:a16="http://schemas.microsoft.com/office/drawing/2014/main" id="{62132FC5-032D-B04B-8428-531D243D40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87233" y="246579"/>
            <a:ext cx="5299229" cy="31709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3F14C5-B0BD-6F43-8CB8-B2A2ABDC12F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3DEAC08-C311-934B-8C3A-673689FE90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72200" y="1251137"/>
            <a:ext cx="5218289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564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228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04B3FDD5-DF84-45E7-940A-1C6951316D95}"/>
              </a:ext>
            </a:extLst>
          </p:cNvPr>
          <p:cNvSpPr/>
          <p:nvPr userDrawn="1"/>
        </p:nvSpPr>
        <p:spPr>
          <a:xfrm>
            <a:off x="3037840" y="410688"/>
            <a:ext cx="1838960" cy="2903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0E369A-2421-2B45-B472-43E528F9CE5B}"/>
              </a:ext>
            </a:extLst>
          </p:cNvPr>
          <p:cNvSpPr/>
          <p:nvPr userDrawn="1"/>
        </p:nvSpPr>
        <p:spPr bwMode="white">
          <a:xfrm>
            <a:off x="0" y="-1309"/>
            <a:ext cx="318008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4835" y="224520"/>
            <a:ext cx="428609" cy="365125"/>
          </a:xfrm>
        </p:spPr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822AC9-3D76-014E-9DBC-100BFFA8B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48050" y="1775793"/>
            <a:ext cx="7736785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26C4B127-E7E0-444A-BB78-D7577CB04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03FEE-A3D3-904A-9106-278392AB5A3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484313" y="6333772"/>
            <a:ext cx="7700522" cy="365125"/>
          </a:xfrm>
        </p:spPr>
        <p:txBody>
          <a:bodyPr/>
          <a:lstStyle/>
          <a:p>
            <a:endParaRPr lang="en-US" sz="1000"/>
          </a:p>
        </p:txBody>
      </p:sp>
      <p:sp>
        <p:nvSpPr>
          <p:cNvPr id="13" name="Title 19">
            <a:extLst>
              <a:ext uri="{FF2B5EF4-FFF2-40B4-BE49-F238E27FC236}">
                <a16:creationId xmlns:a16="http://schemas.microsoft.com/office/drawing/2014/main" id="{1C546AAE-D97D-45DD-AE1D-35E1DD40B7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2164647" cy="4071408"/>
          </a:xfrm>
        </p:spPr>
        <p:txBody>
          <a:bodyPr vert="horz">
            <a:noAutofit/>
          </a:bodyPr>
          <a:lstStyle>
            <a:lvl1pPr>
              <a:defRPr sz="240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1186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s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27">
            <a:extLst>
              <a:ext uri="{FF2B5EF4-FFF2-40B4-BE49-F238E27FC236}">
                <a16:creationId xmlns:a16="http://schemas.microsoft.com/office/drawing/2014/main" id="{62132FC5-032D-B04B-8428-531D243D40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3F14C5-B0BD-6F43-8CB8-B2A2ABDC12F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sz="10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EBF32A5-8A3E-644E-ABD0-AC975EFCF71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42340" y="2606040"/>
            <a:ext cx="3450590" cy="2388870"/>
          </a:xfrm>
          <a:prstGeom prst="rect">
            <a:avLst/>
          </a:prstGeom>
        </p:spPr>
      </p:pic>
      <p:sp>
        <p:nvSpPr>
          <p:cNvPr id="17" name="Title 19">
            <a:extLst>
              <a:ext uri="{FF2B5EF4-FFF2-40B4-BE49-F238E27FC236}">
                <a16:creationId xmlns:a16="http://schemas.microsoft.com/office/drawing/2014/main" id="{9DAB43CA-D98B-9C4A-820B-2B4E8C625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3701899" cy="4071408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D38C5E81-3CC2-DA4A-BEAB-1921E0C8BDD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72200" y="1251137"/>
            <a:ext cx="5218289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254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_2 text columns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A75B8BC-6ADC-BC40-8446-A30BADE3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11058126" cy="4071408"/>
          </a:xfrm>
        </p:spPr>
        <p:txBody>
          <a:bodyPr>
            <a:noAutofit/>
          </a:bodyPr>
          <a:lstStyle>
            <a:lvl1pPr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7892DB-DEDB-A440-9305-CDECCE7FBDC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7">
            <a:extLst>
              <a:ext uri="{FF2B5EF4-FFF2-40B4-BE49-F238E27FC236}">
                <a16:creationId xmlns:a16="http://schemas.microsoft.com/office/drawing/2014/main" id="{62132FC5-032D-B04B-8428-531D243D40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3F14C5-B0BD-6F43-8CB8-B2A2ABDC12F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sz="1000"/>
          </a:p>
        </p:txBody>
      </p:sp>
    </p:spTree>
    <p:extLst>
      <p:ext uri="{BB962C8B-B14F-4D97-AF65-F5344CB8AC3E}">
        <p14:creationId xmlns:p14="http://schemas.microsoft.com/office/powerpoint/2010/main" val="1375557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485D4A4-2F12-B843-BA1D-04367DA83BFE}"/>
              </a:ext>
            </a:extLst>
          </p:cNvPr>
          <p:cNvSpPr/>
          <p:nvPr userDrawn="1"/>
        </p:nvSpPr>
        <p:spPr bwMode="white">
          <a:xfrm>
            <a:off x="0" y="1577340"/>
            <a:ext cx="12192000" cy="528066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7">
            <a:extLst>
              <a:ext uri="{FF2B5EF4-FFF2-40B4-BE49-F238E27FC236}">
                <a16:creationId xmlns:a16="http://schemas.microsoft.com/office/drawing/2014/main" id="{8C909DDD-05CA-6442-A468-91C6F44744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0254351-F4A4-BB48-9180-B38B56006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763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0E369A-2421-2B45-B472-43E528F9CE5B}"/>
              </a:ext>
            </a:extLst>
          </p:cNvPr>
          <p:cNvSpPr/>
          <p:nvPr userDrawn="1"/>
        </p:nvSpPr>
        <p:spPr bwMode="white">
          <a:xfrm>
            <a:off x="7023652" y="-1309"/>
            <a:ext cx="516834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4835" y="224520"/>
            <a:ext cx="428609" cy="365125"/>
          </a:xfrm>
        </p:spPr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822AC9-3D76-014E-9DBC-100BFFA8B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0130" y="1775793"/>
            <a:ext cx="5530003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26C4B127-E7E0-444A-BB78-D7577CB04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03FEE-A3D3-904A-9106-278392AB5A3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3C4827F-4A69-E545-86C7-79E41B9D1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6060242" cy="537986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7773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Team/Speakers 3 columns 3 rows</a:t>
            </a:r>
            <a:endParaRPr lang="en-GB" dirty="0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0450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1" name="Text Placeholder 12">
            <a:extLst>
              <a:ext uri="{FF2B5EF4-FFF2-40B4-BE49-F238E27FC236}">
                <a16:creationId xmlns:a16="http://schemas.microsoft.com/office/drawing/2014/main" id="{7BBE5725-635F-472C-99DA-2942D536FF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35950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50681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3" name="Text Placeholder 12">
            <a:extLst>
              <a:ext uri="{FF2B5EF4-FFF2-40B4-BE49-F238E27FC236}">
                <a16:creationId xmlns:a16="http://schemas.microsoft.com/office/drawing/2014/main" id="{EE36DF45-11AE-4011-BA24-5F2F1B07B5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08467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2319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5" name="Text Placeholder 12">
            <a:extLst>
              <a:ext uri="{FF2B5EF4-FFF2-40B4-BE49-F238E27FC236}">
                <a16:creationId xmlns:a16="http://schemas.microsoft.com/office/drawing/2014/main" id="{85553B65-686F-493B-B002-4E9B0D2112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89776" y="3609432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04508" y="3450001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7" name="Text Placeholder 12">
            <a:extLst>
              <a:ext uri="{FF2B5EF4-FFF2-40B4-BE49-F238E27FC236}">
                <a16:creationId xmlns:a16="http://schemas.microsoft.com/office/drawing/2014/main" id="{78D2052B-6800-49A9-9052-94BEBF4D16D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35950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50681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9" name="Text Placeholder 12">
            <a:extLst>
              <a:ext uri="{FF2B5EF4-FFF2-40B4-BE49-F238E27FC236}">
                <a16:creationId xmlns:a16="http://schemas.microsoft.com/office/drawing/2014/main" id="{0CFC70D0-DEBC-4AE8-94A6-E2EBDB950EB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08467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2319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7B6DD1A6-D513-4EA0-8C3F-47C93CA395E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89776" y="5155288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04508" y="4995857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4682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80E369A-2421-2B45-B472-43E528F9CE5B}"/>
              </a:ext>
            </a:extLst>
          </p:cNvPr>
          <p:cNvSpPr/>
          <p:nvPr userDrawn="1"/>
        </p:nvSpPr>
        <p:spPr bwMode="white">
          <a:xfrm>
            <a:off x="6096000" y="-1309"/>
            <a:ext cx="60960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59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4835" y="224520"/>
            <a:ext cx="428609" cy="365125"/>
          </a:xfrm>
        </p:spPr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7822AC9-3D76-014E-9DBC-100BFFA8BB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0131" y="1775793"/>
            <a:ext cx="4748420" cy="406841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26C4B127-E7E0-444A-BB78-D7577CB04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03FEE-A3D3-904A-9106-278392AB5A3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3C4827F-4A69-E545-86C7-79E41B9D1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5209998" cy="537986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176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44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4A1DDC8-EB94-4D82-828F-0D7838EB4C6C}"/>
              </a:ext>
            </a:extLst>
          </p:cNvPr>
          <p:cNvSpPr/>
          <p:nvPr userDrawn="1"/>
        </p:nvSpPr>
        <p:spPr>
          <a:xfrm>
            <a:off x="578553" y="549005"/>
            <a:ext cx="3261927" cy="2157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80E369A-2421-2B45-B472-43E528F9CE5B}"/>
              </a:ext>
            </a:extLst>
          </p:cNvPr>
          <p:cNvSpPr/>
          <p:nvPr userDrawn="1"/>
        </p:nvSpPr>
        <p:spPr bwMode="white">
          <a:xfrm>
            <a:off x="3759200" y="-1309"/>
            <a:ext cx="8432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184835" y="224520"/>
            <a:ext cx="428609" cy="365125"/>
          </a:xfrm>
        </p:spPr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27">
            <a:extLst>
              <a:ext uri="{FF2B5EF4-FFF2-40B4-BE49-F238E27FC236}">
                <a16:creationId xmlns:a16="http://schemas.microsoft.com/office/drawing/2014/main" id="{26C4B127-E7E0-444A-BB78-D7577CB04C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603FEE-A3D3-904A-9106-278392AB5A3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3C4827F-4A69-E545-86C7-79E41B9D1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1130512"/>
            <a:ext cx="2245927" cy="4427008"/>
          </a:xfrm>
        </p:spPr>
        <p:txBody>
          <a:bodyPr vert="horz"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7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9851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041B4B9-5319-4CE5-AD44-D052002504D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Freeform 76">
            <a:extLst>
              <a:ext uri="{FF2B5EF4-FFF2-40B4-BE49-F238E27FC236}">
                <a16:creationId xmlns:a16="http://schemas.microsoft.com/office/drawing/2014/main" id="{6A3D6D03-E559-428C-9A40-98FEAB9751A3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10714801" y="6603211"/>
            <a:ext cx="692414" cy="106472"/>
          </a:xfrm>
          <a:custGeom>
            <a:avLst/>
            <a:gdLst>
              <a:gd name="T0" fmla="*/ 0 w 23379"/>
              <a:gd name="T1" fmla="*/ 1791 h 3593"/>
              <a:gd name="T2" fmla="*/ 0 w 23379"/>
              <a:gd name="T3" fmla="*/ 1791 h 3593"/>
              <a:gd name="T4" fmla="*/ 2196 w 23379"/>
              <a:gd name="T5" fmla="*/ 3593 h 3593"/>
              <a:gd name="T6" fmla="*/ 4377 w 23379"/>
              <a:gd name="T7" fmla="*/ 2090 h 3593"/>
              <a:gd name="T8" fmla="*/ 3773 w 23379"/>
              <a:gd name="T9" fmla="*/ 2090 h 3593"/>
              <a:gd name="T10" fmla="*/ 2196 w 23379"/>
              <a:gd name="T11" fmla="*/ 3093 h 3593"/>
              <a:gd name="T12" fmla="*/ 598 w 23379"/>
              <a:gd name="T13" fmla="*/ 1791 h 3593"/>
              <a:gd name="T14" fmla="*/ 2196 w 23379"/>
              <a:gd name="T15" fmla="*/ 498 h 3593"/>
              <a:gd name="T16" fmla="*/ 3773 w 23379"/>
              <a:gd name="T17" fmla="*/ 1491 h 3593"/>
              <a:gd name="T18" fmla="*/ 4372 w 23379"/>
              <a:gd name="T19" fmla="*/ 1491 h 3593"/>
              <a:gd name="T20" fmla="*/ 2196 w 23379"/>
              <a:gd name="T21" fmla="*/ 0 h 3593"/>
              <a:gd name="T22" fmla="*/ 0 w 23379"/>
              <a:gd name="T23" fmla="*/ 1791 h 3593"/>
              <a:gd name="T24" fmla="*/ 7027 w 23379"/>
              <a:gd name="T25" fmla="*/ 3593 h 3593"/>
              <a:gd name="T26" fmla="*/ 7027 w 23379"/>
              <a:gd name="T27" fmla="*/ 3593 h 3593"/>
              <a:gd name="T28" fmla="*/ 9223 w 23379"/>
              <a:gd name="T29" fmla="*/ 1791 h 3593"/>
              <a:gd name="T30" fmla="*/ 7027 w 23379"/>
              <a:gd name="T31" fmla="*/ 0 h 3593"/>
              <a:gd name="T32" fmla="*/ 4831 w 23379"/>
              <a:gd name="T33" fmla="*/ 1791 h 3593"/>
              <a:gd name="T34" fmla="*/ 7027 w 23379"/>
              <a:gd name="T35" fmla="*/ 3593 h 3593"/>
              <a:gd name="T36" fmla="*/ 7027 w 23379"/>
              <a:gd name="T37" fmla="*/ 3093 h 3593"/>
              <a:gd name="T38" fmla="*/ 7027 w 23379"/>
              <a:gd name="T39" fmla="*/ 3093 h 3593"/>
              <a:gd name="T40" fmla="*/ 5430 w 23379"/>
              <a:gd name="T41" fmla="*/ 1791 h 3593"/>
              <a:gd name="T42" fmla="*/ 7027 w 23379"/>
              <a:gd name="T43" fmla="*/ 498 h 3593"/>
              <a:gd name="T44" fmla="*/ 8624 w 23379"/>
              <a:gd name="T45" fmla="*/ 1791 h 3593"/>
              <a:gd name="T46" fmla="*/ 7027 w 23379"/>
              <a:gd name="T47" fmla="*/ 3093 h 3593"/>
              <a:gd name="T48" fmla="*/ 13356 w 23379"/>
              <a:gd name="T49" fmla="*/ 49 h 3593"/>
              <a:gd name="T50" fmla="*/ 13356 w 23379"/>
              <a:gd name="T51" fmla="*/ 49 h 3593"/>
              <a:gd name="T52" fmla="*/ 11639 w 23379"/>
              <a:gd name="T53" fmla="*/ 2989 h 3593"/>
              <a:gd name="T54" fmla="*/ 9922 w 23379"/>
              <a:gd name="T55" fmla="*/ 49 h 3593"/>
              <a:gd name="T56" fmla="*/ 9228 w 23379"/>
              <a:gd name="T57" fmla="*/ 49 h 3593"/>
              <a:gd name="T58" fmla="*/ 11290 w 23379"/>
              <a:gd name="T59" fmla="*/ 3543 h 3593"/>
              <a:gd name="T60" fmla="*/ 11989 w 23379"/>
              <a:gd name="T61" fmla="*/ 3543 h 3593"/>
              <a:gd name="T62" fmla="*/ 14050 w 23379"/>
              <a:gd name="T63" fmla="*/ 49 h 3593"/>
              <a:gd name="T64" fmla="*/ 13356 w 23379"/>
              <a:gd name="T65" fmla="*/ 49 h 3593"/>
              <a:gd name="T66" fmla="*/ 17264 w 23379"/>
              <a:gd name="T67" fmla="*/ 3543 h 3593"/>
              <a:gd name="T68" fmla="*/ 17264 w 23379"/>
              <a:gd name="T69" fmla="*/ 3543 h 3593"/>
              <a:gd name="T70" fmla="*/ 17928 w 23379"/>
              <a:gd name="T71" fmla="*/ 3543 h 3593"/>
              <a:gd name="T72" fmla="*/ 15857 w 23379"/>
              <a:gd name="T73" fmla="*/ 49 h 3593"/>
              <a:gd name="T74" fmla="*/ 15178 w 23379"/>
              <a:gd name="T75" fmla="*/ 49 h 3593"/>
              <a:gd name="T76" fmla="*/ 13107 w 23379"/>
              <a:gd name="T77" fmla="*/ 3543 h 3593"/>
              <a:gd name="T78" fmla="*/ 13771 w 23379"/>
              <a:gd name="T79" fmla="*/ 3543 h 3593"/>
              <a:gd name="T80" fmla="*/ 14265 w 23379"/>
              <a:gd name="T81" fmla="*/ 2714 h 3593"/>
              <a:gd name="T82" fmla="*/ 16770 w 23379"/>
              <a:gd name="T83" fmla="*/ 2714 h 3593"/>
              <a:gd name="T84" fmla="*/ 17264 w 23379"/>
              <a:gd name="T85" fmla="*/ 3543 h 3593"/>
              <a:gd name="T86" fmla="*/ 14559 w 23379"/>
              <a:gd name="T87" fmla="*/ 2215 h 3593"/>
              <a:gd name="T88" fmla="*/ 14559 w 23379"/>
              <a:gd name="T89" fmla="*/ 2215 h 3593"/>
              <a:gd name="T90" fmla="*/ 15518 w 23379"/>
              <a:gd name="T91" fmla="*/ 598 h 3593"/>
              <a:gd name="T92" fmla="*/ 16476 w 23379"/>
              <a:gd name="T93" fmla="*/ 2215 h 3593"/>
              <a:gd name="T94" fmla="*/ 14559 w 23379"/>
              <a:gd name="T95" fmla="*/ 2215 h 3593"/>
              <a:gd name="T96" fmla="*/ 18228 w 23379"/>
              <a:gd name="T97" fmla="*/ 3543 h 3593"/>
              <a:gd name="T98" fmla="*/ 18228 w 23379"/>
              <a:gd name="T99" fmla="*/ 3543 h 3593"/>
              <a:gd name="T100" fmla="*/ 19126 w 23379"/>
              <a:gd name="T101" fmla="*/ 3543 h 3593"/>
              <a:gd name="T102" fmla="*/ 20803 w 23379"/>
              <a:gd name="T103" fmla="*/ 2195 h 3593"/>
              <a:gd name="T104" fmla="*/ 22480 w 23379"/>
              <a:gd name="T105" fmla="*/ 3543 h 3593"/>
              <a:gd name="T106" fmla="*/ 23379 w 23379"/>
              <a:gd name="T107" fmla="*/ 3543 h 3593"/>
              <a:gd name="T108" fmla="*/ 21178 w 23379"/>
              <a:gd name="T109" fmla="*/ 1796 h 3593"/>
              <a:gd name="T110" fmla="*/ 23379 w 23379"/>
              <a:gd name="T111" fmla="*/ 49 h 3593"/>
              <a:gd name="T112" fmla="*/ 22480 w 23379"/>
              <a:gd name="T113" fmla="*/ 49 h 3593"/>
              <a:gd name="T114" fmla="*/ 20803 w 23379"/>
              <a:gd name="T115" fmla="*/ 1396 h 3593"/>
              <a:gd name="T116" fmla="*/ 19126 w 23379"/>
              <a:gd name="T117" fmla="*/ 49 h 3593"/>
              <a:gd name="T118" fmla="*/ 18228 w 23379"/>
              <a:gd name="T119" fmla="*/ 49 h 3593"/>
              <a:gd name="T120" fmla="*/ 20429 w 23379"/>
              <a:gd name="T121" fmla="*/ 1796 h 3593"/>
              <a:gd name="T122" fmla="*/ 18228 w 23379"/>
              <a:gd name="T123" fmla="*/ 3543 h 3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379" h="3593">
                <a:moveTo>
                  <a:pt x="0" y="1791"/>
                </a:moveTo>
                <a:lnTo>
                  <a:pt x="0" y="1791"/>
                </a:lnTo>
                <a:cubicBezTo>
                  <a:pt x="0" y="2909"/>
                  <a:pt x="658" y="3593"/>
                  <a:pt x="2196" y="3593"/>
                </a:cubicBezTo>
                <a:cubicBezTo>
                  <a:pt x="3583" y="3593"/>
                  <a:pt x="4262" y="3024"/>
                  <a:pt x="4377" y="2090"/>
                </a:cubicBezTo>
                <a:lnTo>
                  <a:pt x="3773" y="2090"/>
                </a:lnTo>
                <a:cubicBezTo>
                  <a:pt x="3668" y="2829"/>
                  <a:pt x="3089" y="3093"/>
                  <a:pt x="2196" y="3093"/>
                </a:cubicBezTo>
                <a:cubicBezTo>
                  <a:pt x="1182" y="3093"/>
                  <a:pt x="598" y="2764"/>
                  <a:pt x="598" y="1791"/>
                </a:cubicBezTo>
                <a:cubicBezTo>
                  <a:pt x="598" y="822"/>
                  <a:pt x="1177" y="498"/>
                  <a:pt x="2196" y="498"/>
                </a:cubicBezTo>
                <a:cubicBezTo>
                  <a:pt x="3094" y="498"/>
                  <a:pt x="3668" y="758"/>
                  <a:pt x="3773" y="1491"/>
                </a:cubicBezTo>
                <a:lnTo>
                  <a:pt x="4372" y="1491"/>
                </a:lnTo>
                <a:cubicBezTo>
                  <a:pt x="4262" y="563"/>
                  <a:pt x="3583" y="0"/>
                  <a:pt x="2196" y="0"/>
                </a:cubicBezTo>
                <a:cubicBezTo>
                  <a:pt x="658" y="0"/>
                  <a:pt x="0" y="678"/>
                  <a:pt x="0" y="1791"/>
                </a:cubicBezTo>
                <a:close/>
                <a:moveTo>
                  <a:pt x="7027" y="3593"/>
                </a:moveTo>
                <a:lnTo>
                  <a:pt x="7027" y="3593"/>
                </a:lnTo>
                <a:cubicBezTo>
                  <a:pt x="8560" y="3593"/>
                  <a:pt x="9223" y="2904"/>
                  <a:pt x="9223" y="1791"/>
                </a:cubicBezTo>
                <a:cubicBezTo>
                  <a:pt x="9223" y="683"/>
                  <a:pt x="8560" y="0"/>
                  <a:pt x="7027" y="0"/>
                </a:cubicBezTo>
                <a:cubicBezTo>
                  <a:pt x="5490" y="0"/>
                  <a:pt x="4831" y="678"/>
                  <a:pt x="4831" y="1791"/>
                </a:cubicBezTo>
                <a:cubicBezTo>
                  <a:pt x="4831" y="2909"/>
                  <a:pt x="5490" y="3593"/>
                  <a:pt x="7027" y="3593"/>
                </a:cubicBezTo>
                <a:close/>
                <a:moveTo>
                  <a:pt x="7027" y="3093"/>
                </a:moveTo>
                <a:lnTo>
                  <a:pt x="7027" y="3093"/>
                </a:lnTo>
                <a:cubicBezTo>
                  <a:pt x="5964" y="3093"/>
                  <a:pt x="5430" y="2764"/>
                  <a:pt x="5430" y="1791"/>
                </a:cubicBezTo>
                <a:cubicBezTo>
                  <a:pt x="5430" y="822"/>
                  <a:pt x="5959" y="498"/>
                  <a:pt x="7027" y="498"/>
                </a:cubicBezTo>
                <a:cubicBezTo>
                  <a:pt x="8095" y="498"/>
                  <a:pt x="8624" y="827"/>
                  <a:pt x="8624" y="1791"/>
                </a:cubicBezTo>
                <a:cubicBezTo>
                  <a:pt x="8624" y="2759"/>
                  <a:pt x="8090" y="3093"/>
                  <a:pt x="7027" y="3093"/>
                </a:cubicBezTo>
                <a:close/>
                <a:moveTo>
                  <a:pt x="13356" y="49"/>
                </a:moveTo>
                <a:lnTo>
                  <a:pt x="13356" y="49"/>
                </a:lnTo>
                <a:lnTo>
                  <a:pt x="11639" y="2989"/>
                </a:lnTo>
                <a:lnTo>
                  <a:pt x="9922" y="49"/>
                </a:lnTo>
                <a:lnTo>
                  <a:pt x="9228" y="49"/>
                </a:lnTo>
                <a:lnTo>
                  <a:pt x="11290" y="3543"/>
                </a:lnTo>
                <a:lnTo>
                  <a:pt x="11989" y="3543"/>
                </a:lnTo>
                <a:lnTo>
                  <a:pt x="14050" y="49"/>
                </a:lnTo>
                <a:lnTo>
                  <a:pt x="13356" y="49"/>
                </a:lnTo>
                <a:close/>
                <a:moveTo>
                  <a:pt x="17264" y="3543"/>
                </a:moveTo>
                <a:lnTo>
                  <a:pt x="17264" y="3543"/>
                </a:lnTo>
                <a:lnTo>
                  <a:pt x="17928" y="3543"/>
                </a:lnTo>
                <a:lnTo>
                  <a:pt x="15857" y="49"/>
                </a:lnTo>
                <a:lnTo>
                  <a:pt x="15178" y="49"/>
                </a:lnTo>
                <a:lnTo>
                  <a:pt x="13107" y="3543"/>
                </a:lnTo>
                <a:lnTo>
                  <a:pt x="13771" y="3543"/>
                </a:lnTo>
                <a:lnTo>
                  <a:pt x="14265" y="2714"/>
                </a:lnTo>
                <a:lnTo>
                  <a:pt x="16770" y="2714"/>
                </a:lnTo>
                <a:lnTo>
                  <a:pt x="17264" y="3543"/>
                </a:lnTo>
                <a:close/>
                <a:moveTo>
                  <a:pt x="14559" y="2215"/>
                </a:moveTo>
                <a:lnTo>
                  <a:pt x="14559" y="2215"/>
                </a:lnTo>
                <a:lnTo>
                  <a:pt x="15518" y="598"/>
                </a:lnTo>
                <a:lnTo>
                  <a:pt x="16476" y="2215"/>
                </a:lnTo>
                <a:lnTo>
                  <a:pt x="14559" y="2215"/>
                </a:lnTo>
                <a:close/>
                <a:moveTo>
                  <a:pt x="18228" y="3543"/>
                </a:moveTo>
                <a:lnTo>
                  <a:pt x="18228" y="3543"/>
                </a:lnTo>
                <a:lnTo>
                  <a:pt x="19126" y="3543"/>
                </a:lnTo>
                <a:lnTo>
                  <a:pt x="20803" y="2195"/>
                </a:lnTo>
                <a:lnTo>
                  <a:pt x="22480" y="3543"/>
                </a:lnTo>
                <a:lnTo>
                  <a:pt x="23379" y="3543"/>
                </a:lnTo>
                <a:lnTo>
                  <a:pt x="21178" y="1796"/>
                </a:lnTo>
                <a:lnTo>
                  <a:pt x="23379" y="49"/>
                </a:lnTo>
                <a:lnTo>
                  <a:pt x="22480" y="49"/>
                </a:lnTo>
                <a:lnTo>
                  <a:pt x="20803" y="1396"/>
                </a:lnTo>
                <a:lnTo>
                  <a:pt x="19126" y="49"/>
                </a:lnTo>
                <a:lnTo>
                  <a:pt x="18228" y="49"/>
                </a:lnTo>
                <a:lnTo>
                  <a:pt x="20429" y="1796"/>
                </a:lnTo>
                <a:lnTo>
                  <a:pt x="18228" y="3543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530812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6" name="Slide Number Placeholder 2">
            <a:extLst>
              <a:ext uri="{FF2B5EF4-FFF2-40B4-BE49-F238E27FC236}">
                <a16:creationId xmlns:a16="http://schemas.microsoft.com/office/drawing/2014/main" id="{179CD8C8-EA39-6F44-B0EF-6426E484D04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383528" y="268766"/>
            <a:ext cx="428609" cy="365125"/>
          </a:xfrm>
        </p:spPr>
        <p:txBody>
          <a:bodyPr/>
          <a:lstStyle/>
          <a:p>
            <a:fld id="{5C7892DB-DEDB-A440-9305-CDECCE7FBDC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0CD3503-F3AF-A84E-978F-A7200E7BCC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C8EB94-FE85-CF47-90D5-DD32C24817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sz="1000"/>
          </a:p>
        </p:txBody>
      </p:sp>
      <p:sp>
        <p:nvSpPr>
          <p:cNvPr id="68" name="Text Placeholder 27">
            <a:extLst>
              <a:ext uri="{FF2B5EF4-FFF2-40B4-BE49-F238E27FC236}">
                <a16:creationId xmlns:a16="http://schemas.microsoft.com/office/drawing/2014/main" id="{FACEED7E-FB1D-3A4A-8875-BFD750EBB0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4981" y="285749"/>
            <a:ext cx="3782308" cy="251181"/>
          </a:xfrm>
          <a:prstGeom prst="rect">
            <a:avLst/>
          </a:prstGeom>
        </p:spPr>
        <p:txBody>
          <a:bodyPr rIns="0" anchor="t">
            <a:normAutofit/>
          </a:bodyPr>
          <a:lstStyle>
            <a:lvl1pPr algn="l">
              <a:buNone/>
              <a:defRPr sz="1200" b="0" i="1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name </a:t>
            </a:r>
          </a:p>
        </p:txBody>
      </p:sp>
    </p:spTree>
    <p:extLst>
      <p:ext uri="{BB962C8B-B14F-4D97-AF65-F5344CB8AC3E}">
        <p14:creationId xmlns:p14="http://schemas.microsoft.com/office/powerpoint/2010/main" val="2455972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FD177CC8-001B-43AD-8769-8F49681EBE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273115" cy="6858000"/>
          </a:xfrm>
          <a:custGeom>
            <a:avLst/>
            <a:gdLst>
              <a:gd name="connsiteX0" fmla="*/ 3348090 w 11273115"/>
              <a:gd name="connsiteY0" fmla="*/ 0 h 6858000"/>
              <a:gd name="connsiteX1" fmla="*/ 3350669 w 11273115"/>
              <a:gd name="connsiteY1" fmla="*/ 66 h 6858000"/>
              <a:gd name="connsiteX2" fmla="*/ 3350669 w 11273115"/>
              <a:gd name="connsiteY2" fmla="*/ 0 h 6858000"/>
              <a:gd name="connsiteX3" fmla="*/ 11272195 w 11273115"/>
              <a:gd name="connsiteY3" fmla="*/ 0 h 6858000"/>
              <a:gd name="connsiteX4" fmla="*/ 11272195 w 11273115"/>
              <a:gd name="connsiteY4" fmla="*/ 2961216 h 6858000"/>
              <a:gd name="connsiteX5" fmla="*/ 11271695 w 11273115"/>
              <a:gd name="connsiteY5" fmla="*/ 2961216 h 6858000"/>
              <a:gd name="connsiteX6" fmla="*/ 11273115 w 11273115"/>
              <a:gd name="connsiteY6" fmla="*/ 3017366 h 6858000"/>
              <a:gd name="connsiteX7" fmla="*/ 7818094 w 11273115"/>
              <a:gd name="connsiteY7" fmla="*/ 6846005 h 6858000"/>
              <a:gd name="connsiteX8" fmla="*/ 7660345 w 11273115"/>
              <a:gd name="connsiteY8" fmla="*/ 6858000 h 6858000"/>
              <a:gd name="connsiteX9" fmla="*/ 0 w 11273115"/>
              <a:gd name="connsiteY9" fmla="*/ 6858000 h 6858000"/>
              <a:gd name="connsiteX10" fmla="*/ 0 w 11273115"/>
              <a:gd name="connsiteY10" fmla="*/ 3105006 h 6858000"/>
              <a:gd name="connsiteX11" fmla="*/ 1984 w 11273115"/>
              <a:gd name="connsiteY11" fmla="*/ 3078405 h 6858000"/>
              <a:gd name="connsiteX12" fmla="*/ 3348090 w 11273115"/>
              <a:gd name="connsiteY12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273115" h="6858000">
                <a:moveTo>
                  <a:pt x="3348090" y="0"/>
                </a:moveTo>
                <a:lnTo>
                  <a:pt x="3350669" y="66"/>
                </a:lnTo>
                <a:lnTo>
                  <a:pt x="3350669" y="0"/>
                </a:lnTo>
                <a:lnTo>
                  <a:pt x="11272195" y="0"/>
                </a:lnTo>
                <a:lnTo>
                  <a:pt x="11272195" y="2961216"/>
                </a:lnTo>
                <a:lnTo>
                  <a:pt x="11271695" y="2961216"/>
                </a:lnTo>
                <a:lnTo>
                  <a:pt x="11273115" y="3017366"/>
                </a:lnTo>
                <a:cubicBezTo>
                  <a:pt x="11273115" y="5009996"/>
                  <a:pt x="9758729" y="6648923"/>
                  <a:pt x="7818094" y="6846005"/>
                </a:cubicBezTo>
                <a:lnTo>
                  <a:pt x="7660345" y="6858000"/>
                </a:lnTo>
                <a:lnTo>
                  <a:pt x="0" y="6858000"/>
                </a:lnTo>
                <a:lnTo>
                  <a:pt x="0" y="3105006"/>
                </a:lnTo>
                <a:lnTo>
                  <a:pt x="1984" y="3078405"/>
                </a:lnTo>
                <a:cubicBezTo>
                  <a:pt x="174228" y="1349311"/>
                  <a:pt x="1606596" y="0"/>
                  <a:pt x="3348090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D724945-48CE-43AA-A2D7-D18FC7CB73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flipH="1" flipV="1">
            <a:off x="0" y="0"/>
            <a:ext cx="3352193" cy="312544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lumMod val="7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F4C4F21-0086-44BC-AE2C-731756B16D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21" y="4330696"/>
            <a:ext cx="11582479" cy="2527304"/>
          </a:xfrm>
          <a:custGeom>
            <a:avLst/>
            <a:gdLst>
              <a:gd name="connsiteX0" fmla="*/ 326075 w 8600365"/>
              <a:gd name="connsiteY0" fmla="*/ 0 h 1224926"/>
              <a:gd name="connsiteX1" fmla="*/ 8274290 w 8600365"/>
              <a:gd name="connsiteY1" fmla="*/ 0 h 1224926"/>
              <a:gd name="connsiteX2" fmla="*/ 8600365 w 8600365"/>
              <a:gd name="connsiteY2" fmla="*/ 326075 h 1224926"/>
              <a:gd name="connsiteX3" fmla="*/ 8600365 w 8600365"/>
              <a:gd name="connsiteY3" fmla="*/ 1224926 h 1224926"/>
              <a:gd name="connsiteX4" fmla="*/ 8600365 w 8600365"/>
              <a:gd name="connsiteY4" fmla="*/ 1224926 h 1224926"/>
              <a:gd name="connsiteX5" fmla="*/ 0 w 8600365"/>
              <a:gd name="connsiteY5" fmla="*/ 1224926 h 1224926"/>
              <a:gd name="connsiteX6" fmla="*/ 0 w 8600365"/>
              <a:gd name="connsiteY6" fmla="*/ 1224926 h 1224926"/>
              <a:gd name="connsiteX7" fmla="*/ 0 w 8600365"/>
              <a:gd name="connsiteY7" fmla="*/ 326075 h 1224926"/>
              <a:gd name="connsiteX8" fmla="*/ 326075 w 8600365"/>
              <a:gd name="connsiteY8" fmla="*/ 0 h 1224926"/>
              <a:gd name="connsiteX0" fmla="*/ 326075 w 8687289"/>
              <a:gd name="connsiteY0" fmla="*/ 0 h 1224926"/>
              <a:gd name="connsiteX1" fmla="*/ 8609570 w 8687289"/>
              <a:gd name="connsiteY1" fmla="*/ 0 h 1224926"/>
              <a:gd name="connsiteX2" fmla="*/ 8600365 w 8687289"/>
              <a:gd name="connsiteY2" fmla="*/ 326075 h 1224926"/>
              <a:gd name="connsiteX3" fmla="*/ 8600365 w 8687289"/>
              <a:gd name="connsiteY3" fmla="*/ 1224926 h 1224926"/>
              <a:gd name="connsiteX4" fmla="*/ 8600365 w 8687289"/>
              <a:gd name="connsiteY4" fmla="*/ 1224926 h 1224926"/>
              <a:gd name="connsiteX5" fmla="*/ 0 w 8687289"/>
              <a:gd name="connsiteY5" fmla="*/ 1224926 h 1224926"/>
              <a:gd name="connsiteX6" fmla="*/ 0 w 8687289"/>
              <a:gd name="connsiteY6" fmla="*/ 1224926 h 1224926"/>
              <a:gd name="connsiteX7" fmla="*/ 0 w 8687289"/>
              <a:gd name="connsiteY7" fmla="*/ 326075 h 1224926"/>
              <a:gd name="connsiteX8" fmla="*/ 326075 w 8687289"/>
              <a:gd name="connsiteY8" fmla="*/ 0 h 1224926"/>
              <a:gd name="connsiteX0" fmla="*/ 326075 w 8635417"/>
              <a:gd name="connsiteY0" fmla="*/ 0 h 1224926"/>
              <a:gd name="connsiteX1" fmla="*/ 8533370 w 8635417"/>
              <a:gd name="connsiteY1" fmla="*/ 0 h 1224926"/>
              <a:gd name="connsiteX2" fmla="*/ 8600365 w 8635417"/>
              <a:gd name="connsiteY2" fmla="*/ 326075 h 1224926"/>
              <a:gd name="connsiteX3" fmla="*/ 8600365 w 8635417"/>
              <a:gd name="connsiteY3" fmla="*/ 1224926 h 1224926"/>
              <a:gd name="connsiteX4" fmla="*/ 8600365 w 8635417"/>
              <a:gd name="connsiteY4" fmla="*/ 1224926 h 1224926"/>
              <a:gd name="connsiteX5" fmla="*/ 0 w 8635417"/>
              <a:gd name="connsiteY5" fmla="*/ 1224926 h 1224926"/>
              <a:gd name="connsiteX6" fmla="*/ 0 w 8635417"/>
              <a:gd name="connsiteY6" fmla="*/ 1224926 h 1224926"/>
              <a:gd name="connsiteX7" fmla="*/ 0 w 8635417"/>
              <a:gd name="connsiteY7" fmla="*/ 326075 h 1224926"/>
              <a:gd name="connsiteX8" fmla="*/ 326075 w 8635417"/>
              <a:gd name="connsiteY8" fmla="*/ 0 h 1224926"/>
              <a:gd name="connsiteX0" fmla="*/ 326075 w 8626903"/>
              <a:gd name="connsiteY0" fmla="*/ 0 h 1224926"/>
              <a:gd name="connsiteX1" fmla="*/ 8518130 w 8626903"/>
              <a:gd name="connsiteY1" fmla="*/ 0 h 1224926"/>
              <a:gd name="connsiteX2" fmla="*/ 8600365 w 8626903"/>
              <a:gd name="connsiteY2" fmla="*/ 326075 h 1224926"/>
              <a:gd name="connsiteX3" fmla="*/ 8600365 w 8626903"/>
              <a:gd name="connsiteY3" fmla="*/ 1224926 h 1224926"/>
              <a:gd name="connsiteX4" fmla="*/ 8600365 w 8626903"/>
              <a:gd name="connsiteY4" fmla="*/ 1224926 h 1224926"/>
              <a:gd name="connsiteX5" fmla="*/ 0 w 8626903"/>
              <a:gd name="connsiteY5" fmla="*/ 1224926 h 1224926"/>
              <a:gd name="connsiteX6" fmla="*/ 0 w 8626903"/>
              <a:gd name="connsiteY6" fmla="*/ 1224926 h 1224926"/>
              <a:gd name="connsiteX7" fmla="*/ 0 w 8626903"/>
              <a:gd name="connsiteY7" fmla="*/ 326075 h 1224926"/>
              <a:gd name="connsiteX8" fmla="*/ 326075 w 8626903"/>
              <a:gd name="connsiteY8" fmla="*/ 0 h 1224926"/>
              <a:gd name="connsiteX0" fmla="*/ 326075 w 8600365"/>
              <a:gd name="connsiteY0" fmla="*/ 0 h 1224926"/>
              <a:gd name="connsiteX1" fmla="*/ 8518130 w 8600365"/>
              <a:gd name="connsiteY1" fmla="*/ 0 h 1224926"/>
              <a:gd name="connsiteX2" fmla="*/ 8600365 w 8600365"/>
              <a:gd name="connsiteY2" fmla="*/ 326075 h 1224926"/>
              <a:gd name="connsiteX3" fmla="*/ 8600365 w 8600365"/>
              <a:gd name="connsiteY3" fmla="*/ 1224926 h 1224926"/>
              <a:gd name="connsiteX4" fmla="*/ 8600365 w 8600365"/>
              <a:gd name="connsiteY4" fmla="*/ 1224926 h 1224926"/>
              <a:gd name="connsiteX5" fmla="*/ 0 w 8600365"/>
              <a:gd name="connsiteY5" fmla="*/ 1224926 h 1224926"/>
              <a:gd name="connsiteX6" fmla="*/ 0 w 8600365"/>
              <a:gd name="connsiteY6" fmla="*/ 1224926 h 1224926"/>
              <a:gd name="connsiteX7" fmla="*/ 0 w 8600365"/>
              <a:gd name="connsiteY7" fmla="*/ 326075 h 1224926"/>
              <a:gd name="connsiteX8" fmla="*/ 326075 w 8600365"/>
              <a:gd name="connsiteY8" fmla="*/ 0 h 1224926"/>
              <a:gd name="connsiteX0" fmla="*/ 326075 w 8600365"/>
              <a:gd name="connsiteY0" fmla="*/ 0 h 1224926"/>
              <a:gd name="connsiteX1" fmla="*/ 8518130 w 8600365"/>
              <a:gd name="connsiteY1" fmla="*/ 0 h 1224926"/>
              <a:gd name="connsiteX2" fmla="*/ 8600365 w 8600365"/>
              <a:gd name="connsiteY2" fmla="*/ 764225 h 1224926"/>
              <a:gd name="connsiteX3" fmla="*/ 8600365 w 8600365"/>
              <a:gd name="connsiteY3" fmla="*/ 1224926 h 1224926"/>
              <a:gd name="connsiteX4" fmla="*/ 8600365 w 8600365"/>
              <a:gd name="connsiteY4" fmla="*/ 1224926 h 1224926"/>
              <a:gd name="connsiteX5" fmla="*/ 0 w 8600365"/>
              <a:gd name="connsiteY5" fmla="*/ 1224926 h 1224926"/>
              <a:gd name="connsiteX6" fmla="*/ 0 w 8600365"/>
              <a:gd name="connsiteY6" fmla="*/ 1224926 h 1224926"/>
              <a:gd name="connsiteX7" fmla="*/ 0 w 8600365"/>
              <a:gd name="connsiteY7" fmla="*/ 326075 h 1224926"/>
              <a:gd name="connsiteX8" fmla="*/ 326075 w 8600365"/>
              <a:gd name="connsiteY8" fmla="*/ 0 h 1224926"/>
              <a:gd name="connsiteX0" fmla="*/ 326075 w 8611111"/>
              <a:gd name="connsiteY0" fmla="*/ 0 h 1224926"/>
              <a:gd name="connsiteX1" fmla="*/ 8603855 w 8611111"/>
              <a:gd name="connsiteY1" fmla="*/ 0 h 1224926"/>
              <a:gd name="connsiteX2" fmla="*/ 8600365 w 8611111"/>
              <a:gd name="connsiteY2" fmla="*/ 764225 h 1224926"/>
              <a:gd name="connsiteX3" fmla="*/ 8600365 w 8611111"/>
              <a:gd name="connsiteY3" fmla="*/ 1224926 h 1224926"/>
              <a:gd name="connsiteX4" fmla="*/ 8600365 w 8611111"/>
              <a:gd name="connsiteY4" fmla="*/ 1224926 h 1224926"/>
              <a:gd name="connsiteX5" fmla="*/ 0 w 8611111"/>
              <a:gd name="connsiteY5" fmla="*/ 1224926 h 1224926"/>
              <a:gd name="connsiteX6" fmla="*/ 0 w 8611111"/>
              <a:gd name="connsiteY6" fmla="*/ 1224926 h 1224926"/>
              <a:gd name="connsiteX7" fmla="*/ 0 w 8611111"/>
              <a:gd name="connsiteY7" fmla="*/ 326075 h 1224926"/>
              <a:gd name="connsiteX8" fmla="*/ 326075 w 8611111"/>
              <a:gd name="connsiteY8" fmla="*/ 0 h 1224926"/>
              <a:gd name="connsiteX0" fmla="*/ 326075 w 8611111"/>
              <a:gd name="connsiteY0" fmla="*/ 0 h 1224926"/>
              <a:gd name="connsiteX1" fmla="*/ 8603855 w 8611111"/>
              <a:gd name="connsiteY1" fmla="*/ 0 h 1224926"/>
              <a:gd name="connsiteX2" fmla="*/ 8600365 w 8611111"/>
              <a:gd name="connsiteY2" fmla="*/ 764225 h 1224926"/>
              <a:gd name="connsiteX3" fmla="*/ 8600365 w 8611111"/>
              <a:gd name="connsiteY3" fmla="*/ 1224926 h 1224926"/>
              <a:gd name="connsiteX4" fmla="*/ 8600365 w 8611111"/>
              <a:gd name="connsiteY4" fmla="*/ 1224926 h 1224926"/>
              <a:gd name="connsiteX5" fmla="*/ 0 w 8611111"/>
              <a:gd name="connsiteY5" fmla="*/ 1224926 h 1224926"/>
              <a:gd name="connsiteX6" fmla="*/ 0 w 8611111"/>
              <a:gd name="connsiteY6" fmla="*/ 1224926 h 1224926"/>
              <a:gd name="connsiteX7" fmla="*/ 0 w 8611111"/>
              <a:gd name="connsiteY7" fmla="*/ 326075 h 1224926"/>
              <a:gd name="connsiteX8" fmla="*/ 326075 w 8611111"/>
              <a:gd name="connsiteY8" fmla="*/ 0 h 1224926"/>
              <a:gd name="connsiteX0" fmla="*/ 326075 w 8606958"/>
              <a:gd name="connsiteY0" fmla="*/ 0 h 1224926"/>
              <a:gd name="connsiteX1" fmla="*/ 8603855 w 8606958"/>
              <a:gd name="connsiteY1" fmla="*/ 0 h 1224926"/>
              <a:gd name="connsiteX2" fmla="*/ 8600365 w 8606958"/>
              <a:gd name="connsiteY2" fmla="*/ 764225 h 1224926"/>
              <a:gd name="connsiteX3" fmla="*/ 8600365 w 8606958"/>
              <a:gd name="connsiteY3" fmla="*/ 1224926 h 1224926"/>
              <a:gd name="connsiteX4" fmla="*/ 8600365 w 8606958"/>
              <a:gd name="connsiteY4" fmla="*/ 1224926 h 1224926"/>
              <a:gd name="connsiteX5" fmla="*/ 0 w 8606958"/>
              <a:gd name="connsiteY5" fmla="*/ 1224926 h 1224926"/>
              <a:gd name="connsiteX6" fmla="*/ 0 w 8606958"/>
              <a:gd name="connsiteY6" fmla="*/ 1224926 h 1224926"/>
              <a:gd name="connsiteX7" fmla="*/ 0 w 8606958"/>
              <a:gd name="connsiteY7" fmla="*/ 326075 h 1224926"/>
              <a:gd name="connsiteX8" fmla="*/ 326075 w 8606958"/>
              <a:gd name="connsiteY8" fmla="*/ 0 h 1224926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0 w 8606958"/>
              <a:gd name="connsiteY6" fmla="*/ 1237299 h 1237299"/>
              <a:gd name="connsiteX7" fmla="*/ 0 w 8606958"/>
              <a:gd name="connsiteY7" fmla="*/ 338448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0 w 8606958"/>
              <a:gd name="connsiteY6" fmla="*/ 1237299 h 1237299"/>
              <a:gd name="connsiteX7" fmla="*/ 405811 w 8606958"/>
              <a:gd name="connsiteY7" fmla="*/ 480737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0 w 8606958"/>
              <a:gd name="connsiteY6" fmla="*/ 1237299 h 1237299"/>
              <a:gd name="connsiteX7" fmla="*/ 405811 w 8606958"/>
              <a:gd name="connsiteY7" fmla="*/ 480737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585122 w 8606958"/>
              <a:gd name="connsiteY6" fmla="*/ 909415 h 1237299"/>
              <a:gd name="connsiteX7" fmla="*/ 405811 w 8606958"/>
              <a:gd name="connsiteY7" fmla="*/ 480737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585122 w 8606958"/>
              <a:gd name="connsiteY6" fmla="*/ 909415 h 1237299"/>
              <a:gd name="connsiteX7" fmla="*/ 405811 w 8606958"/>
              <a:gd name="connsiteY7" fmla="*/ 480737 h 1237299"/>
              <a:gd name="connsiteX8" fmla="*/ 1722819 w 8606958"/>
              <a:gd name="connsiteY8" fmla="*/ 0 h 1237299"/>
              <a:gd name="connsiteX0" fmla="*/ 1932911 w 8817050"/>
              <a:gd name="connsiteY0" fmla="*/ 0 h 1237299"/>
              <a:gd name="connsiteX1" fmla="*/ 8813947 w 8817050"/>
              <a:gd name="connsiteY1" fmla="*/ 12373 h 1237299"/>
              <a:gd name="connsiteX2" fmla="*/ 8810457 w 8817050"/>
              <a:gd name="connsiteY2" fmla="*/ 776598 h 1237299"/>
              <a:gd name="connsiteX3" fmla="*/ 8810457 w 8817050"/>
              <a:gd name="connsiteY3" fmla="*/ 1237299 h 1237299"/>
              <a:gd name="connsiteX4" fmla="*/ 8810457 w 8817050"/>
              <a:gd name="connsiteY4" fmla="*/ 1237299 h 1237299"/>
              <a:gd name="connsiteX5" fmla="*/ 210092 w 8817050"/>
              <a:gd name="connsiteY5" fmla="*/ 1237299 h 1237299"/>
              <a:gd name="connsiteX6" fmla="*/ 313904 w 8817050"/>
              <a:gd name="connsiteY6" fmla="*/ 810431 h 1237299"/>
              <a:gd name="connsiteX7" fmla="*/ 615903 w 8817050"/>
              <a:gd name="connsiteY7" fmla="*/ 480737 h 1237299"/>
              <a:gd name="connsiteX8" fmla="*/ 1932911 w 8817050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103812 w 8606958"/>
              <a:gd name="connsiteY6" fmla="*/ 810431 h 1237299"/>
              <a:gd name="connsiteX7" fmla="*/ 405811 w 8606958"/>
              <a:gd name="connsiteY7" fmla="*/ 480737 h 1237299"/>
              <a:gd name="connsiteX8" fmla="*/ 1722819 w 8606958"/>
              <a:gd name="connsiteY8" fmla="*/ 0 h 1237299"/>
              <a:gd name="connsiteX0" fmla="*/ 1731342 w 8615481"/>
              <a:gd name="connsiteY0" fmla="*/ 0 h 1237299"/>
              <a:gd name="connsiteX1" fmla="*/ 8612378 w 8615481"/>
              <a:gd name="connsiteY1" fmla="*/ 12373 h 1237299"/>
              <a:gd name="connsiteX2" fmla="*/ 8608888 w 8615481"/>
              <a:gd name="connsiteY2" fmla="*/ 776598 h 1237299"/>
              <a:gd name="connsiteX3" fmla="*/ 8608888 w 8615481"/>
              <a:gd name="connsiteY3" fmla="*/ 1237299 h 1237299"/>
              <a:gd name="connsiteX4" fmla="*/ 8608888 w 8615481"/>
              <a:gd name="connsiteY4" fmla="*/ 1237299 h 1237299"/>
              <a:gd name="connsiteX5" fmla="*/ 8523 w 8615481"/>
              <a:gd name="connsiteY5" fmla="*/ 1237299 h 1237299"/>
              <a:gd name="connsiteX6" fmla="*/ 112335 w 8615481"/>
              <a:gd name="connsiteY6" fmla="*/ 810431 h 1237299"/>
              <a:gd name="connsiteX7" fmla="*/ 414334 w 8615481"/>
              <a:gd name="connsiteY7" fmla="*/ 480737 h 1237299"/>
              <a:gd name="connsiteX8" fmla="*/ 1731342 w 8615481"/>
              <a:gd name="connsiteY8" fmla="*/ 0 h 1237299"/>
              <a:gd name="connsiteX0" fmla="*/ 1731342 w 8615481"/>
              <a:gd name="connsiteY0" fmla="*/ 0 h 1237299"/>
              <a:gd name="connsiteX1" fmla="*/ 8612378 w 8615481"/>
              <a:gd name="connsiteY1" fmla="*/ 12373 h 1237299"/>
              <a:gd name="connsiteX2" fmla="*/ 8608888 w 8615481"/>
              <a:gd name="connsiteY2" fmla="*/ 776598 h 1237299"/>
              <a:gd name="connsiteX3" fmla="*/ 8608888 w 8615481"/>
              <a:gd name="connsiteY3" fmla="*/ 1237299 h 1237299"/>
              <a:gd name="connsiteX4" fmla="*/ 8608888 w 8615481"/>
              <a:gd name="connsiteY4" fmla="*/ 1237299 h 1237299"/>
              <a:gd name="connsiteX5" fmla="*/ 8523 w 8615481"/>
              <a:gd name="connsiteY5" fmla="*/ 1237299 h 1237299"/>
              <a:gd name="connsiteX6" fmla="*/ 112335 w 8615481"/>
              <a:gd name="connsiteY6" fmla="*/ 810431 h 1237299"/>
              <a:gd name="connsiteX7" fmla="*/ 782395 w 8615481"/>
              <a:gd name="connsiteY7" fmla="*/ 251837 h 1237299"/>
              <a:gd name="connsiteX8" fmla="*/ 1731342 w 8615481"/>
              <a:gd name="connsiteY8" fmla="*/ 0 h 1237299"/>
              <a:gd name="connsiteX0" fmla="*/ 1731342 w 8615481"/>
              <a:gd name="connsiteY0" fmla="*/ 0 h 1237299"/>
              <a:gd name="connsiteX1" fmla="*/ 8612378 w 8615481"/>
              <a:gd name="connsiteY1" fmla="*/ 12373 h 1237299"/>
              <a:gd name="connsiteX2" fmla="*/ 8608888 w 8615481"/>
              <a:gd name="connsiteY2" fmla="*/ 776598 h 1237299"/>
              <a:gd name="connsiteX3" fmla="*/ 8608888 w 8615481"/>
              <a:gd name="connsiteY3" fmla="*/ 1237299 h 1237299"/>
              <a:gd name="connsiteX4" fmla="*/ 8608888 w 8615481"/>
              <a:gd name="connsiteY4" fmla="*/ 1237299 h 1237299"/>
              <a:gd name="connsiteX5" fmla="*/ 8523 w 8615481"/>
              <a:gd name="connsiteY5" fmla="*/ 1237299 h 1237299"/>
              <a:gd name="connsiteX6" fmla="*/ 112335 w 8615481"/>
              <a:gd name="connsiteY6" fmla="*/ 810431 h 1237299"/>
              <a:gd name="connsiteX7" fmla="*/ 782395 w 8615481"/>
              <a:gd name="connsiteY7" fmla="*/ 251837 h 1237299"/>
              <a:gd name="connsiteX8" fmla="*/ 1731342 w 8615481"/>
              <a:gd name="connsiteY8" fmla="*/ 0 h 1237299"/>
              <a:gd name="connsiteX0" fmla="*/ 1731342 w 8615481"/>
              <a:gd name="connsiteY0" fmla="*/ 0 h 1237299"/>
              <a:gd name="connsiteX1" fmla="*/ 8612378 w 8615481"/>
              <a:gd name="connsiteY1" fmla="*/ 12373 h 1237299"/>
              <a:gd name="connsiteX2" fmla="*/ 8608888 w 8615481"/>
              <a:gd name="connsiteY2" fmla="*/ 776598 h 1237299"/>
              <a:gd name="connsiteX3" fmla="*/ 8608888 w 8615481"/>
              <a:gd name="connsiteY3" fmla="*/ 1237299 h 1237299"/>
              <a:gd name="connsiteX4" fmla="*/ 8608888 w 8615481"/>
              <a:gd name="connsiteY4" fmla="*/ 1237299 h 1237299"/>
              <a:gd name="connsiteX5" fmla="*/ 8523 w 8615481"/>
              <a:gd name="connsiteY5" fmla="*/ 1237299 h 1237299"/>
              <a:gd name="connsiteX6" fmla="*/ 112335 w 8615481"/>
              <a:gd name="connsiteY6" fmla="*/ 810431 h 1237299"/>
              <a:gd name="connsiteX7" fmla="*/ 782395 w 8615481"/>
              <a:gd name="connsiteY7" fmla="*/ 251837 h 1237299"/>
              <a:gd name="connsiteX8" fmla="*/ 1731342 w 8615481"/>
              <a:gd name="connsiteY8" fmla="*/ 0 h 1237299"/>
              <a:gd name="connsiteX0" fmla="*/ 1727632 w 8611771"/>
              <a:gd name="connsiteY0" fmla="*/ 0 h 1237299"/>
              <a:gd name="connsiteX1" fmla="*/ 8608668 w 8611771"/>
              <a:gd name="connsiteY1" fmla="*/ 12373 h 1237299"/>
              <a:gd name="connsiteX2" fmla="*/ 8605178 w 8611771"/>
              <a:gd name="connsiteY2" fmla="*/ 776598 h 1237299"/>
              <a:gd name="connsiteX3" fmla="*/ 8605178 w 8611771"/>
              <a:gd name="connsiteY3" fmla="*/ 1237299 h 1237299"/>
              <a:gd name="connsiteX4" fmla="*/ 8605178 w 8611771"/>
              <a:gd name="connsiteY4" fmla="*/ 1237299 h 1237299"/>
              <a:gd name="connsiteX5" fmla="*/ 4813 w 8611771"/>
              <a:gd name="connsiteY5" fmla="*/ 1237299 h 1237299"/>
              <a:gd name="connsiteX6" fmla="*/ 108625 w 8611771"/>
              <a:gd name="connsiteY6" fmla="*/ 810431 h 1237299"/>
              <a:gd name="connsiteX7" fmla="*/ 778685 w 8611771"/>
              <a:gd name="connsiteY7" fmla="*/ 251837 h 1237299"/>
              <a:gd name="connsiteX8" fmla="*/ 1727632 w 8611771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103812 w 8606958"/>
              <a:gd name="connsiteY6" fmla="*/ 810431 h 1237299"/>
              <a:gd name="connsiteX7" fmla="*/ 773872 w 8606958"/>
              <a:gd name="connsiteY7" fmla="*/ 251837 h 1237299"/>
              <a:gd name="connsiteX8" fmla="*/ 1722819 w 8606958"/>
              <a:gd name="connsiteY8" fmla="*/ 0 h 1237299"/>
              <a:gd name="connsiteX0" fmla="*/ 1726697 w 8610836"/>
              <a:gd name="connsiteY0" fmla="*/ 0 h 1237299"/>
              <a:gd name="connsiteX1" fmla="*/ 8607733 w 8610836"/>
              <a:gd name="connsiteY1" fmla="*/ 12373 h 1237299"/>
              <a:gd name="connsiteX2" fmla="*/ 8604243 w 8610836"/>
              <a:gd name="connsiteY2" fmla="*/ 776598 h 1237299"/>
              <a:gd name="connsiteX3" fmla="*/ 8604243 w 8610836"/>
              <a:gd name="connsiteY3" fmla="*/ 1237299 h 1237299"/>
              <a:gd name="connsiteX4" fmla="*/ 8604243 w 8610836"/>
              <a:gd name="connsiteY4" fmla="*/ 1237299 h 1237299"/>
              <a:gd name="connsiteX5" fmla="*/ 3878 w 8610836"/>
              <a:gd name="connsiteY5" fmla="*/ 1237299 h 1237299"/>
              <a:gd name="connsiteX6" fmla="*/ 88815 w 8610836"/>
              <a:gd name="connsiteY6" fmla="*/ 810431 h 1237299"/>
              <a:gd name="connsiteX7" fmla="*/ 777750 w 8610836"/>
              <a:gd name="connsiteY7" fmla="*/ 251837 h 1237299"/>
              <a:gd name="connsiteX8" fmla="*/ 1726697 w 8610836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73872 w 8606958"/>
              <a:gd name="connsiteY7" fmla="*/ 251837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73872 w 8606958"/>
              <a:gd name="connsiteY7" fmla="*/ 251837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73872 w 8606958"/>
              <a:gd name="connsiteY7" fmla="*/ 251837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73872 w 8606958"/>
              <a:gd name="connsiteY7" fmla="*/ 251837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45560 w 8606958"/>
              <a:gd name="connsiteY7" fmla="*/ 239464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45560 w 8606958"/>
              <a:gd name="connsiteY7" fmla="*/ 239464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45560 w 8606958"/>
              <a:gd name="connsiteY7" fmla="*/ 239464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45560 w 8606958"/>
              <a:gd name="connsiteY7" fmla="*/ 239464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45560 w 8606958"/>
              <a:gd name="connsiteY7" fmla="*/ 239464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45560 w 8606958"/>
              <a:gd name="connsiteY7" fmla="*/ 239464 h 1237299"/>
              <a:gd name="connsiteX8" fmla="*/ 1722819 w 8606958"/>
              <a:gd name="connsiteY8" fmla="*/ 0 h 1237299"/>
              <a:gd name="connsiteX0" fmla="*/ 1722819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45560 w 8606958"/>
              <a:gd name="connsiteY7" fmla="*/ 239464 h 1237299"/>
              <a:gd name="connsiteX8" fmla="*/ 1722819 w 8606958"/>
              <a:gd name="connsiteY8" fmla="*/ 0 h 1237299"/>
              <a:gd name="connsiteX0" fmla="*/ 1637882 w 8606958"/>
              <a:gd name="connsiteY0" fmla="*/ 0 h 1237299"/>
              <a:gd name="connsiteX1" fmla="*/ 8603855 w 8606958"/>
              <a:gd name="connsiteY1" fmla="*/ 12373 h 1237299"/>
              <a:gd name="connsiteX2" fmla="*/ 8600365 w 8606958"/>
              <a:gd name="connsiteY2" fmla="*/ 776598 h 1237299"/>
              <a:gd name="connsiteX3" fmla="*/ 8600365 w 8606958"/>
              <a:gd name="connsiteY3" fmla="*/ 1237299 h 1237299"/>
              <a:gd name="connsiteX4" fmla="*/ 8600365 w 8606958"/>
              <a:gd name="connsiteY4" fmla="*/ 1237299 h 1237299"/>
              <a:gd name="connsiteX5" fmla="*/ 0 w 8606958"/>
              <a:gd name="connsiteY5" fmla="*/ 1237299 h 1237299"/>
              <a:gd name="connsiteX6" fmla="*/ 84937 w 8606958"/>
              <a:gd name="connsiteY6" fmla="*/ 810431 h 1237299"/>
              <a:gd name="connsiteX7" fmla="*/ 745560 w 8606958"/>
              <a:gd name="connsiteY7" fmla="*/ 239464 h 1237299"/>
              <a:gd name="connsiteX8" fmla="*/ 1637882 w 8606958"/>
              <a:gd name="connsiteY8" fmla="*/ 0 h 1237299"/>
              <a:gd name="connsiteX0" fmla="*/ 2298504 w 8606958"/>
              <a:gd name="connsiteY0" fmla="*/ 0 h 1249672"/>
              <a:gd name="connsiteX1" fmla="*/ 8603855 w 8606958"/>
              <a:gd name="connsiteY1" fmla="*/ 24746 h 1249672"/>
              <a:gd name="connsiteX2" fmla="*/ 8600365 w 8606958"/>
              <a:gd name="connsiteY2" fmla="*/ 788971 h 1249672"/>
              <a:gd name="connsiteX3" fmla="*/ 8600365 w 8606958"/>
              <a:gd name="connsiteY3" fmla="*/ 1249672 h 1249672"/>
              <a:gd name="connsiteX4" fmla="*/ 8600365 w 8606958"/>
              <a:gd name="connsiteY4" fmla="*/ 1249672 h 1249672"/>
              <a:gd name="connsiteX5" fmla="*/ 0 w 8606958"/>
              <a:gd name="connsiteY5" fmla="*/ 1249672 h 1249672"/>
              <a:gd name="connsiteX6" fmla="*/ 84937 w 8606958"/>
              <a:gd name="connsiteY6" fmla="*/ 822804 h 1249672"/>
              <a:gd name="connsiteX7" fmla="*/ 745560 w 8606958"/>
              <a:gd name="connsiteY7" fmla="*/ 251837 h 1249672"/>
              <a:gd name="connsiteX8" fmla="*/ 2298504 w 8606958"/>
              <a:gd name="connsiteY8" fmla="*/ 0 h 1249672"/>
              <a:gd name="connsiteX0" fmla="*/ 2298504 w 8606958"/>
              <a:gd name="connsiteY0" fmla="*/ 0 h 1249672"/>
              <a:gd name="connsiteX1" fmla="*/ 8603855 w 8606958"/>
              <a:gd name="connsiteY1" fmla="*/ 24746 h 1249672"/>
              <a:gd name="connsiteX2" fmla="*/ 8600365 w 8606958"/>
              <a:gd name="connsiteY2" fmla="*/ 788971 h 1249672"/>
              <a:gd name="connsiteX3" fmla="*/ 8600365 w 8606958"/>
              <a:gd name="connsiteY3" fmla="*/ 1249672 h 1249672"/>
              <a:gd name="connsiteX4" fmla="*/ 8600365 w 8606958"/>
              <a:gd name="connsiteY4" fmla="*/ 1249672 h 1249672"/>
              <a:gd name="connsiteX5" fmla="*/ 0 w 8606958"/>
              <a:gd name="connsiteY5" fmla="*/ 1249672 h 1249672"/>
              <a:gd name="connsiteX6" fmla="*/ 84937 w 8606958"/>
              <a:gd name="connsiteY6" fmla="*/ 822804 h 1249672"/>
              <a:gd name="connsiteX7" fmla="*/ 745560 w 8606958"/>
              <a:gd name="connsiteY7" fmla="*/ 251837 h 1249672"/>
              <a:gd name="connsiteX8" fmla="*/ 2298504 w 8606958"/>
              <a:gd name="connsiteY8" fmla="*/ 0 h 1249672"/>
              <a:gd name="connsiteX0" fmla="*/ 2298504 w 8606958"/>
              <a:gd name="connsiteY0" fmla="*/ 0 h 1249672"/>
              <a:gd name="connsiteX1" fmla="*/ 8603855 w 8606958"/>
              <a:gd name="connsiteY1" fmla="*/ 24746 h 1249672"/>
              <a:gd name="connsiteX2" fmla="*/ 8600365 w 8606958"/>
              <a:gd name="connsiteY2" fmla="*/ 788971 h 1249672"/>
              <a:gd name="connsiteX3" fmla="*/ 8600365 w 8606958"/>
              <a:gd name="connsiteY3" fmla="*/ 1249672 h 1249672"/>
              <a:gd name="connsiteX4" fmla="*/ 8600365 w 8606958"/>
              <a:gd name="connsiteY4" fmla="*/ 1249672 h 1249672"/>
              <a:gd name="connsiteX5" fmla="*/ 0 w 8606958"/>
              <a:gd name="connsiteY5" fmla="*/ 1249672 h 1249672"/>
              <a:gd name="connsiteX6" fmla="*/ 84937 w 8606958"/>
              <a:gd name="connsiteY6" fmla="*/ 822804 h 1249672"/>
              <a:gd name="connsiteX7" fmla="*/ 2298504 w 8606958"/>
              <a:gd name="connsiteY7" fmla="*/ 0 h 1249672"/>
              <a:gd name="connsiteX0" fmla="*/ 2600441 w 8908895"/>
              <a:gd name="connsiteY0" fmla="*/ 0 h 1249672"/>
              <a:gd name="connsiteX1" fmla="*/ 8905792 w 8908895"/>
              <a:gd name="connsiteY1" fmla="*/ 24746 h 1249672"/>
              <a:gd name="connsiteX2" fmla="*/ 8902302 w 8908895"/>
              <a:gd name="connsiteY2" fmla="*/ 788971 h 1249672"/>
              <a:gd name="connsiteX3" fmla="*/ 8902302 w 8908895"/>
              <a:gd name="connsiteY3" fmla="*/ 1249672 h 1249672"/>
              <a:gd name="connsiteX4" fmla="*/ 8902302 w 8908895"/>
              <a:gd name="connsiteY4" fmla="*/ 1249672 h 1249672"/>
              <a:gd name="connsiteX5" fmla="*/ 301937 w 8908895"/>
              <a:gd name="connsiteY5" fmla="*/ 1249672 h 1249672"/>
              <a:gd name="connsiteX6" fmla="*/ 2600441 w 8908895"/>
              <a:gd name="connsiteY6" fmla="*/ 0 h 1249672"/>
              <a:gd name="connsiteX0" fmla="*/ 2600441 w 8908895"/>
              <a:gd name="connsiteY0" fmla="*/ 0 h 1231113"/>
              <a:gd name="connsiteX1" fmla="*/ 8905792 w 8908895"/>
              <a:gd name="connsiteY1" fmla="*/ 6187 h 1231113"/>
              <a:gd name="connsiteX2" fmla="*/ 8902302 w 8908895"/>
              <a:gd name="connsiteY2" fmla="*/ 770412 h 1231113"/>
              <a:gd name="connsiteX3" fmla="*/ 8902302 w 8908895"/>
              <a:gd name="connsiteY3" fmla="*/ 1231113 h 1231113"/>
              <a:gd name="connsiteX4" fmla="*/ 8902302 w 8908895"/>
              <a:gd name="connsiteY4" fmla="*/ 1231113 h 1231113"/>
              <a:gd name="connsiteX5" fmla="*/ 301937 w 8908895"/>
              <a:gd name="connsiteY5" fmla="*/ 1231113 h 1231113"/>
              <a:gd name="connsiteX6" fmla="*/ 2600441 w 8908895"/>
              <a:gd name="connsiteY6" fmla="*/ 0 h 1231113"/>
              <a:gd name="connsiteX0" fmla="*/ 2716264 w 9024718"/>
              <a:gd name="connsiteY0" fmla="*/ 0 h 1231113"/>
              <a:gd name="connsiteX1" fmla="*/ 9021615 w 9024718"/>
              <a:gd name="connsiteY1" fmla="*/ 6187 h 1231113"/>
              <a:gd name="connsiteX2" fmla="*/ 9018125 w 9024718"/>
              <a:gd name="connsiteY2" fmla="*/ 770412 h 1231113"/>
              <a:gd name="connsiteX3" fmla="*/ 9018125 w 9024718"/>
              <a:gd name="connsiteY3" fmla="*/ 1231113 h 1231113"/>
              <a:gd name="connsiteX4" fmla="*/ 9018125 w 9024718"/>
              <a:gd name="connsiteY4" fmla="*/ 1231113 h 1231113"/>
              <a:gd name="connsiteX5" fmla="*/ 417760 w 9024718"/>
              <a:gd name="connsiteY5" fmla="*/ 1231113 h 1231113"/>
              <a:gd name="connsiteX6" fmla="*/ 2716264 w 9024718"/>
              <a:gd name="connsiteY6" fmla="*/ 0 h 1231113"/>
              <a:gd name="connsiteX0" fmla="*/ 2300894 w 8609348"/>
              <a:gd name="connsiteY0" fmla="*/ 0 h 1231113"/>
              <a:gd name="connsiteX1" fmla="*/ 8606245 w 8609348"/>
              <a:gd name="connsiteY1" fmla="*/ 6187 h 1231113"/>
              <a:gd name="connsiteX2" fmla="*/ 8602755 w 8609348"/>
              <a:gd name="connsiteY2" fmla="*/ 770412 h 1231113"/>
              <a:gd name="connsiteX3" fmla="*/ 8602755 w 8609348"/>
              <a:gd name="connsiteY3" fmla="*/ 1231113 h 1231113"/>
              <a:gd name="connsiteX4" fmla="*/ 8602755 w 8609348"/>
              <a:gd name="connsiteY4" fmla="*/ 1231113 h 1231113"/>
              <a:gd name="connsiteX5" fmla="*/ 2390 w 8609348"/>
              <a:gd name="connsiteY5" fmla="*/ 1231113 h 1231113"/>
              <a:gd name="connsiteX6" fmla="*/ 2300894 w 8609348"/>
              <a:gd name="connsiteY6" fmla="*/ 0 h 1231113"/>
              <a:gd name="connsiteX0" fmla="*/ 2299332 w 8607786"/>
              <a:gd name="connsiteY0" fmla="*/ 0 h 1231113"/>
              <a:gd name="connsiteX1" fmla="*/ 8604683 w 8607786"/>
              <a:gd name="connsiteY1" fmla="*/ 6187 h 1231113"/>
              <a:gd name="connsiteX2" fmla="*/ 8601193 w 8607786"/>
              <a:gd name="connsiteY2" fmla="*/ 770412 h 1231113"/>
              <a:gd name="connsiteX3" fmla="*/ 8601193 w 8607786"/>
              <a:gd name="connsiteY3" fmla="*/ 1231113 h 1231113"/>
              <a:gd name="connsiteX4" fmla="*/ 8601193 w 8607786"/>
              <a:gd name="connsiteY4" fmla="*/ 1231113 h 1231113"/>
              <a:gd name="connsiteX5" fmla="*/ 828 w 8607786"/>
              <a:gd name="connsiteY5" fmla="*/ 1231113 h 1231113"/>
              <a:gd name="connsiteX6" fmla="*/ 2299332 w 8607786"/>
              <a:gd name="connsiteY6" fmla="*/ 0 h 1231113"/>
              <a:gd name="connsiteX0" fmla="*/ 2298564 w 8607018"/>
              <a:gd name="connsiteY0" fmla="*/ 0 h 1231113"/>
              <a:gd name="connsiteX1" fmla="*/ 8603915 w 8607018"/>
              <a:gd name="connsiteY1" fmla="*/ 6187 h 1231113"/>
              <a:gd name="connsiteX2" fmla="*/ 8600425 w 8607018"/>
              <a:gd name="connsiteY2" fmla="*/ 770412 h 1231113"/>
              <a:gd name="connsiteX3" fmla="*/ 8600425 w 8607018"/>
              <a:gd name="connsiteY3" fmla="*/ 1231113 h 1231113"/>
              <a:gd name="connsiteX4" fmla="*/ 8600425 w 8607018"/>
              <a:gd name="connsiteY4" fmla="*/ 1231113 h 1231113"/>
              <a:gd name="connsiteX5" fmla="*/ 60 w 8607018"/>
              <a:gd name="connsiteY5" fmla="*/ 1231113 h 1231113"/>
              <a:gd name="connsiteX6" fmla="*/ 2298564 w 8607018"/>
              <a:gd name="connsiteY6" fmla="*/ 0 h 1231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07018" h="1231113">
                <a:moveTo>
                  <a:pt x="2298564" y="0"/>
                </a:moveTo>
                <a:lnTo>
                  <a:pt x="8603915" y="6187"/>
                </a:lnTo>
                <a:cubicBezTo>
                  <a:pt x="8612551" y="339562"/>
                  <a:pt x="8600425" y="590326"/>
                  <a:pt x="8600425" y="770412"/>
                </a:cubicBezTo>
                <a:lnTo>
                  <a:pt x="8600425" y="1231113"/>
                </a:lnTo>
                <a:lnTo>
                  <a:pt x="8600425" y="1231113"/>
                </a:lnTo>
                <a:lnTo>
                  <a:pt x="60" y="1231113"/>
                </a:lnTo>
                <a:cubicBezTo>
                  <a:pt x="-2693" y="979529"/>
                  <a:pt x="81279" y="0"/>
                  <a:pt x="2298564" y="0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 anchor="t">
            <a:noAutofit/>
          </a:bodyPr>
          <a:lstStyle>
            <a:lvl1pPr marL="1371600">
              <a:lnSpc>
                <a:spcPct val="280000"/>
              </a:lnSpc>
              <a:spcBef>
                <a:spcPts val="1800"/>
              </a:spcBef>
              <a:defRPr>
                <a:solidFill>
                  <a:schemeClr val="bg2"/>
                </a:solidFill>
              </a:defRPr>
            </a:lvl1pPr>
          </a:lstStyle>
          <a:p>
            <a:r>
              <a:rPr lang="en-US" sz="4400">
                <a:solidFill>
                  <a:srgbClr val="FFFFFF"/>
                </a:solidFill>
              </a:rPr>
              <a:t>Click to edit Master title style</a:t>
            </a:r>
            <a:endParaRPr lang="en-US" sz="4400" dirty="0">
              <a:solidFill>
                <a:srgbClr val="FFFFFF"/>
              </a:solidFill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9A0315CC-EC7D-4E65-936E-03F3BE2200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7477125" y="0"/>
            <a:ext cx="4714875" cy="6858000"/>
          </a:xfrm>
          <a:custGeom>
            <a:avLst/>
            <a:gdLst>
              <a:gd name="connsiteX0" fmla="*/ 3611850 w 4528607"/>
              <a:gd name="connsiteY0" fmla="*/ 0 h 6858000"/>
              <a:gd name="connsiteX1" fmla="*/ 4528607 w 4528607"/>
              <a:gd name="connsiteY1" fmla="*/ 0 h 6858000"/>
              <a:gd name="connsiteX2" fmla="*/ 4528607 w 4528607"/>
              <a:gd name="connsiteY2" fmla="*/ 6858000 h 6858000"/>
              <a:gd name="connsiteX3" fmla="*/ 0 w 4528607"/>
              <a:gd name="connsiteY3" fmla="*/ 6858000 h 6858000"/>
              <a:gd name="connsiteX4" fmla="*/ 157749 w 4528607"/>
              <a:gd name="connsiteY4" fmla="*/ 6846005 h 6858000"/>
              <a:gd name="connsiteX5" fmla="*/ 3612770 w 4528607"/>
              <a:gd name="connsiteY5" fmla="*/ 3017366 h 6858000"/>
              <a:gd name="connsiteX6" fmla="*/ 3611350 w 4528607"/>
              <a:gd name="connsiteY6" fmla="*/ 2961216 h 6858000"/>
              <a:gd name="connsiteX7" fmla="*/ 3611850 w 4528607"/>
              <a:gd name="connsiteY7" fmla="*/ 2961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28607" h="6858000">
                <a:moveTo>
                  <a:pt x="3611850" y="0"/>
                </a:moveTo>
                <a:lnTo>
                  <a:pt x="4528607" y="0"/>
                </a:lnTo>
                <a:lnTo>
                  <a:pt x="4528607" y="6858000"/>
                </a:lnTo>
                <a:lnTo>
                  <a:pt x="0" y="6858000"/>
                </a:lnTo>
                <a:lnTo>
                  <a:pt x="157749" y="6846005"/>
                </a:lnTo>
                <a:cubicBezTo>
                  <a:pt x="2098384" y="6648923"/>
                  <a:pt x="3612770" y="5009996"/>
                  <a:pt x="3612770" y="3017366"/>
                </a:cubicBezTo>
                <a:lnTo>
                  <a:pt x="3611350" y="2961216"/>
                </a:lnTo>
                <a:lnTo>
                  <a:pt x="3611850" y="2961216"/>
                </a:lnTo>
                <a:close/>
              </a:path>
            </a:pathLst>
          </a:custGeom>
          <a:solidFill>
            <a:schemeClr val="accent2">
              <a:lumMod val="75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AB5A3B-4D59-4E0D-9EA9-FAFC9BFBB5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00614" y="5920740"/>
            <a:ext cx="5476512" cy="723900"/>
          </a:xfrm>
        </p:spPr>
        <p:txBody>
          <a:bodyPr>
            <a:noAutofit/>
          </a:bodyPr>
          <a:lstStyle>
            <a:lvl1pPr>
              <a:buNone/>
              <a:defRPr sz="2000">
                <a:solidFill>
                  <a:schemeClr val="bg2"/>
                </a:solidFill>
              </a:defRPr>
            </a:lvl1pPr>
            <a:lvl2pPr>
              <a:buNone/>
              <a:defRPr sz="2000">
                <a:solidFill>
                  <a:schemeClr val="bg2"/>
                </a:solidFill>
              </a:defRPr>
            </a:lvl2pPr>
            <a:lvl3pPr>
              <a:buNone/>
              <a:defRPr sz="2000">
                <a:solidFill>
                  <a:schemeClr val="bg2"/>
                </a:solidFill>
              </a:defRPr>
            </a:lvl3pPr>
            <a:lvl4pPr>
              <a:buNone/>
              <a:defRPr sz="2000">
                <a:solidFill>
                  <a:schemeClr val="bg2"/>
                </a:solidFill>
              </a:defRPr>
            </a:lvl4pPr>
            <a:lvl5pPr>
              <a:buNone/>
              <a:defRPr sz="2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304204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E6C91E54-DBE4-467A-A827-2C5C88E612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2880244"/>
            <a:ext cx="12192000" cy="3977756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AED78D-8293-4554-BA23-D14EC617A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525440"/>
            <a:ext cx="5390983" cy="196331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A9EFAE44-6509-43CD-AB03-7B4944875B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3377821"/>
            <a:ext cx="5181600" cy="2799142"/>
          </a:xfrm>
        </p:spPr>
        <p:txBody>
          <a:bodyPr>
            <a:normAutofit/>
          </a:bodyPr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53C5C-8415-4BF0-810D-A4C22F695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D5749D8A-F20A-4228-9136-5891AE035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514166" y="-1798"/>
            <a:ext cx="2846566" cy="2872294"/>
          </a:xfrm>
          <a:custGeom>
            <a:avLst/>
            <a:gdLst>
              <a:gd name="connsiteX0" fmla="*/ 2797 w 2846566"/>
              <a:gd name="connsiteY0" fmla="*/ 0 h 2838450"/>
              <a:gd name="connsiteX1" fmla="*/ 2846566 w 2846566"/>
              <a:gd name="connsiteY1" fmla="*/ 0 h 2838450"/>
              <a:gd name="connsiteX2" fmla="*/ 2846566 w 2846566"/>
              <a:gd name="connsiteY2" fmla="*/ 2838450 h 2838450"/>
              <a:gd name="connsiteX3" fmla="*/ 2091122 w 2846566"/>
              <a:gd name="connsiteY3" fmla="*/ 2838450 h 2838450"/>
              <a:gd name="connsiteX4" fmla="*/ 1974232 w 2846566"/>
              <a:gd name="connsiteY4" fmla="*/ 2820914 h 2838450"/>
              <a:gd name="connsiteX5" fmla="*/ 0 w 2846566"/>
              <a:gd name="connsiteY5" fmla="*/ 404262 h 2838450"/>
              <a:gd name="connsiteX6" fmla="*/ 2797 w 2846566"/>
              <a:gd name="connsiteY6" fmla="*/ 293225 h 2838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46566" h="2838450">
                <a:moveTo>
                  <a:pt x="2797" y="0"/>
                </a:moveTo>
                <a:lnTo>
                  <a:pt x="2846566" y="0"/>
                </a:lnTo>
                <a:lnTo>
                  <a:pt x="2846566" y="2838450"/>
                </a:lnTo>
                <a:lnTo>
                  <a:pt x="2091122" y="2838450"/>
                </a:lnTo>
                <a:lnTo>
                  <a:pt x="1974232" y="2820914"/>
                </a:lnTo>
                <a:cubicBezTo>
                  <a:pt x="848632" y="2597020"/>
                  <a:pt x="0" y="1600146"/>
                  <a:pt x="0" y="404262"/>
                </a:cubicBezTo>
                <a:lnTo>
                  <a:pt x="2797" y="29322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4A3C6DC1-25FD-4947-8211-89B20E599A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0733" y="-1798"/>
            <a:ext cx="2826990" cy="2854594"/>
          </a:xfrm>
          <a:custGeom>
            <a:avLst/>
            <a:gdLst>
              <a:gd name="connsiteX0" fmla="*/ 0 w 2826990"/>
              <a:gd name="connsiteY0" fmla="*/ 0 h 2854594"/>
              <a:gd name="connsiteX1" fmla="*/ 2826990 w 2826990"/>
              <a:gd name="connsiteY1" fmla="*/ 0 h 2854594"/>
              <a:gd name="connsiteX2" fmla="*/ 2826990 w 2826990"/>
              <a:gd name="connsiteY2" fmla="*/ 2854594 h 2854594"/>
              <a:gd name="connsiteX3" fmla="*/ 0 w 2826990"/>
              <a:gd name="connsiteY3" fmla="*/ 2854594 h 2854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6990" h="2854594">
                <a:moveTo>
                  <a:pt x="0" y="0"/>
                </a:moveTo>
                <a:lnTo>
                  <a:pt x="2826990" y="0"/>
                </a:lnTo>
                <a:lnTo>
                  <a:pt x="2826990" y="2854594"/>
                </a:lnTo>
                <a:lnTo>
                  <a:pt x="0" y="285459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53C819AA-E73C-44C7-9928-5E1A8A22BC5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14169" y="2856391"/>
            <a:ext cx="2846565" cy="4001609"/>
          </a:xfrm>
          <a:custGeom>
            <a:avLst/>
            <a:gdLst>
              <a:gd name="connsiteX0" fmla="*/ 2436721 w 2846565"/>
              <a:gd name="connsiteY0" fmla="*/ 0 h 4001609"/>
              <a:gd name="connsiteX1" fmla="*/ 2846565 w 2846565"/>
              <a:gd name="connsiteY1" fmla="*/ 0 h 4001609"/>
              <a:gd name="connsiteX2" fmla="*/ 2846565 w 2846565"/>
              <a:gd name="connsiteY2" fmla="*/ 4001609 h 4001609"/>
              <a:gd name="connsiteX3" fmla="*/ 2796 w 2846565"/>
              <a:gd name="connsiteY3" fmla="*/ 4001608 h 4001609"/>
              <a:gd name="connsiteX4" fmla="*/ 2796 w 2846565"/>
              <a:gd name="connsiteY4" fmla="*/ 2564348 h 4001609"/>
              <a:gd name="connsiteX5" fmla="*/ 0 w 2846565"/>
              <a:gd name="connsiteY5" fmla="*/ 2453758 h 4001609"/>
              <a:gd name="connsiteX6" fmla="*/ 2202875 w 2846565"/>
              <a:gd name="connsiteY6" fmla="*/ 12668 h 4001609"/>
              <a:gd name="connsiteX7" fmla="*/ 2436721 w 2846565"/>
              <a:gd name="connsiteY7" fmla="*/ 860 h 4001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46565" h="4001609">
                <a:moveTo>
                  <a:pt x="2436721" y="0"/>
                </a:moveTo>
                <a:lnTo>
                  <a:pt x="2846565" y="0"/>
                </a:lnTo>
                <a:lnTo>
                  <a:pt x="2846565" y="4001609"/>
                </a:lnTo>
                <a:lnTo>
                  <a:pt x="2796" y="4001608"/>
                </a:lnTo>
                <a:lnTo>
                  <a:pt x="2796" y="2564348"/>
                </a:lnTo>
                <a:lnTo>
                  <a:pt x="0" y="2453758"/>
                </a:lnTo>
                <a:cubicBezTo>
                  <a:pt x="0" y="1183283"/>
                  <a:pt x="965553" y="138326"/>
                  <a:pt x="2202875" y="12668"/>
                </a:cubicBezTo>
                <a:lnTo>
                  <a:pt x="2436721" y="86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noAutofit/>
          </a:bodyPr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64635F40-0058-44E0-95CD-8FFAE18764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6456" y="2828943"/>
            <a:ext cx="2835544" cy="4038805"/>
          </a:xfrm>
          <a:custGeom>
            <a:avLst/>
            <a:gdLst>
              <a:gd name="connsiteX0" fmla="*/ 0 w 2835544"/>
              <a:gd name="connsiteY0" fmla="*/ 0 h 4038805"/>
              <a:gd name="connsiteX1" fmla="*/ 2835544 w 2835544"/>
              <a:gd name="connsiteY1" fmla="*/ 0 h 4038805"/>
              <a:gd name="connsiteX2" fmla="*/ 2835544 w 2835544"/>
              <a:gd name="connsiteY2" fmla="*/ 4038805 h 4038805"/>
              <a:gd name="connsiteX3" fmla="*/ 0 w 2835544"/>
              <a:gd name="connsiteY3" fmla="*/ 4038805 h 4038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544" h="4038805">
                <a:moveTo>
                  <a:pt x="0" y="0"/>
                </a:moveTo>
                <a:lnTo>
                  <a:pt x="2835544" y="0"/>
                </a:lnTo>
                <a:lnTo>
                  <a:pt x="2835544" y="4038805"/>
                </a:lnTo>
                <a:lnTo>
                  <a:pt x="0" y="403880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2485D4-41D3-4182-8DFE-2E0713EC0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EBFEA-4321-48C4-9CA1-43517540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20951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7624BCA1-E0EF-42A1-B762-D68E4B9848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05C258CF-58AC-4C7A-A953-392693E553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3537"/>
            <a:ext cx="12192000" cy="4463002"/>
          </a:xfrm>
          <a:custGeom>
            <a:avLst/>
            <a:gdLst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8245750 w 12192000"/>
              <a:gd name="connsiteY8" fmla="*/ 2210393 h 4463002"/>
              <a:gd name="connsiteX9" fmla="*/ 7449050 w 12192000"/>
              <a:gd name="connsiteY9" fmla="*/ 2210393 h 4463002"/>
              <a:gd name="connsiteX10" fmla="*/ 7294008 w 12192000"/>
              <a:gd name="connsiteY10" fmla="*/ 2210393 h 4463002"/>
              <a:gd name="connsiteX11" fmla="*/ 6051190 w 12192000"/>
              <a:gd name="connsiteY11" fmla="*/ 2210393 h 4463002"/>
              <a:gd name="connsiteX12" fmla="*/ 5343524 w 12192000"/>
              <a:gd name="connsiteY12" fmla="*/ 2210393 h 4463002"/>
              <a:gd name="connsiteX13" fmla="*/ 5343524 w 12192000"/>
              <a:gd name="connsiteY13" fmla="*/ 2209238 h 4463002"/>
              <a:gd name="connsiteX14" fmla="*/ 0 w 12192000"/>
              <a:gd name="connsiteY14" fmla="*/ 2209238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8245750 w 12192000"/>
              <a:gd name="connsiteY8" fmla="*/ 2210393 h 4463002"/>
              <a:gd name="connsiteX9" fmla="*/ 7449050 w 12192000"/>
              <a:gd name="connsiteY9" fmla="*/ 2210393 h 4463002"/>
              <a:gd name="connsiteX10" fmla="*/ 7294008 w 12192000"/>
              <a:gd name="connsiteY10" fmla="*/ 2210393 h 4463002"/>
              <a:gd name="connsiteX11" fmla="*/ 5343524 w 12192000"/>
              <a:gd name="connsiteY11" fmla="*/ 2210393 h 4463002"/>
              <a:gd name="connsiteX12" fmla="*/ 5343524 w 12192000"/>
              <a:gd name="connsiteY12" fmla="*/ 2209238 h 4463002"/>
              <a:gd name="connsiteX13" fmla="*/ 0 w 12192000"/>
              <a:gd name="connsiteY13" fmla="*/ 2209238 h 4463002"/>
              <a:gd name="connsiteX14" fmla="*/ 0 w 12192000"/>
              <a:gd name="connsiteY14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8245750 w 12192000"/>
              <a:gd name="connsiteY8" fmla="*/ 2210393 h 4463002"/>
              <a:gd name="connsiteX9" fmla="*/ 7449050 w 12192000"/>
              <a:gd name="connsiteY9" fmla="*/ 2210393 h 4463002"/>
              <a:gd name="connsiteX10" fmla="*/ 5343524 w 12192000"/>
              <a:gd name="connsiteY10" fmla="*/ 2210393 h 4463002"/>
              <a:gd name="connsiteX11" fmla="*/ 5343524 w 12192000"/>
              <a:gd name="connsiteY11" fmla="*/ 2209238 h 4463002"/>
              <a:gd name="connsiteX12" fmla="*/ 0 w 12192000"/>
              <a:gd name="connsiteY12" fmla="*/ 2209238 h 4463002"/>
              <a:gd name="connsiteX13" fmla="*/ 0 w 12192000"/>
              <a:gd name="connsiteY13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8245750 w 12192000"/>
              <a:gd name="connsiteY8" fmla="*/ 2210393 h 4463002"/>
              <a:gd name="connsiteX9" fmla="*/ 5343524 w 12192000"/>
              <a:gd name="connsiteY9" fmla="*/ 2210393 h 4463002"/>
              <a:gd name="connsiteX10" fmla="*/ 5343524 w 12192000"/>
              <a:gd name="connsiteY10" fmla="*/ 2209238 h 4463002"/>
              <a:gd name="connsiteX11" fmla="*/ 0 w 12192000"/>
              <a:gd name="connsiteY11" fmla="*/ 2209238 h 4463002"/>
              <a:gd name="connsiteX12" fmla="*/ 0 w 12192000"/>
              <a:gd name="connsiteY12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5343524 w 12192000"/>
              <a:gd name="connsiteY8" fmla="*/ 2210393 h 4463002"/>
              <a:gd name="connsiteX9" fmla="*/ 5343524 w 12192000"/>
              <a:gd name="connsiteY9" fmla="*/ 2209238 h 4463002"/>
              <a:gd name="connsiteX10" fmla="*/ 0 w 12192000"/>
              <a:gd name="connsiteY10" fmla="*/ 2209238 h 4463002"/>
              <a:gd name="connsiteX11" fmla="*/ 0 w 12192000"/>
              <a:gd name="connsiteY11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5343524 w 12192000"/>
              <a:gd name="connsiteY8" fmla="*/ 2210393 h 4463002"/>
              <a:gd name="connsiteX9" fmla="*/ 0 w 12192000"/>
              <a:gd name="connsiteY9" fmla="*/ 2209238 h 4463002"/>
              <a:gd name="connsiteX10" fmla="*/ 0 w 12192000"/>
              <a:gd name="connsiteY10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0 w 12192000"/>
              <a:gd name="connsiteY8" fmla="*/ 2209238 h 4463002"/>
              <a:gd name="connsiteX9" fmla="*/ 0 w 12192000"/>
              <a:gd name="connsiteY9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0 w 12192000"/>
              <a:gd name="connsiteY7" fmla="*/ 2209238 h 4463002"/>
              <a:gd name="connsiteX8" fmla="*/ 0 w 12192000"/>
              <a:gd name="connsiteY8" fmla="*/ 0 h 4463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463002">
                <a:moveTo>
                  <a:pt x="0" y="0"/>
                </a:moveTo>
                <a:lnTo>
                  <a:pt x="12192000" y="0"/>
                </a:lnTo>
                <a:lnTo>
                  <a:pt x="12192000" y="4463002"/>
                </a:lnTo>
                <a:cubicBezTo>
                  <a:pt x="12191459" y="4451584"/>
                  <a:pt x="12190919" y="4440167"/>
                  <a:pt x="12190378" y="4428749"/>
                </a:cubicBezTo>
                <a:cubicBezTo>
                  <a:pt x="12079768" y="3266647"/>
                  <a:pt x="11158638" y="2340865"/>
                  <a:pt x="9998648" y="2223060"/>
                </a:cubicBezTo>
                <a:lnTo>
                  <a:pt x="9764803" y="2211252"/>
                </a:lnTo>
                <a:lnTo>
                  <a:pt x="9764803" y="2210393"/>
                </a:lnTo>
                <a:lnTo>
                  <a:pt x="0" y="220923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F9CDC83-34B8-4E32-84EC-92854CEE49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-3537"/>
            <a:ext cx="12192000" cy="4463002"/>
          </a:xfrm>
          <a:custGeom>
            <a:avLst/>
            <a:gdLst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8245750 w 12192000"/>
              <a:gd name="connsiteY8" fmla="*/ 2210393 h 4463002"/>
              <a:gd name="connsiteX9" fmla="*/ 7449050 w 12192000"/>
              <a:gd name="connsiteY9" fmla="*/ 2210393 h 4463002"/>
              <a:gd name="connsiteX10" fmla="*/ 7294008 w 12192000"/>
              <a:gd name="connsiteY10" fmla="*/ 2210393 h 4463002"/>
              <a:gd name="connsiteX11" fmla="*/ 6051190 w 12192000"/>
              <a:gd name="connsiteY11" fmla="*/ 2210393 h 4463002"/>
              <a:gd name="connsiteX12" fmla="*/ 5343524 w 12192000"/>
              <a:gd name="connsiteY12" fmla="*/ 2210393 h 4463002"/>
              <a:gd name="connsiteX13" fmla="*/ 5343524 w 12192000"/>
              <a:gd name="connsiteY13" fmla="*/ 2209238 h 4463002"/>
              <a:gd name="connsiteX14" fmla="*/ 0 w 12192000"/>
              <a:gd name="connsiteY14" fmla="*/ 2209238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8245750 w 12192000"/>
              <a:gd name="connsiteY8" fmla="*/ 2210393 h 4463002"/>
              <a:gd name="connsiteX9" fmla="*/ 7449050 w 12192000"/>
              <a:gd name="connsiteY9" fmla="*/ 2210393 h 4463002"/>
              <a:gd name="connsiteX10" fmla="*/ 7294008 w 12192000"/>
              <a:gd name="connsiteY10" fmla="*/ 2210393 h 4463002"/>
              <a:gd name="connsiteX11" fmla="*/ 5343524 w 12192000"/>
              <a:gd name="connsiteY11" fmla="*/ 2210393 h 4463002"/>
              <a:gd name="connsiteX12" fmla="*/ 5343524 w 12192000"/>
              <a:gd name="connsiteY12" fmla="*/ 2209238 h 4463002"/>
              <a:gd name="connsiteX13" fmla="*/ 0 w 12192000"/>
              <a:gd name="connsiteY13" fmla="*/ 2209238 h 4463002"/>
              <a:gd name="connsiteX14" fmla="*/ 0 w 12192000"/>
              <a:gd name="connsiteY14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8245750 w 12192000"/>
              <a:gd name="connsiteY8" fmla="*/ 2210393 h 4463002"/>
              <a:gd name="connsiteX9" fmla="*/ 7449050 w 12192000"/>
              <a:gd name="connsiteY9" fmla="*/ 2210393 h 4463002"/>
              <a:gd name="connsiteX10" fmla="*/ 5343524 w 12192000"/>
              <a:gd name="connsiteY10" fmla="*/ 2210393 h 4463002"/>
              <a:gd name="connsiteX11" fmla="*/ 5343524 w 12192000"/>
              <a:gd name="connsiteY11" fmla="*/ 2209238 h 4463002"/>
              <a:gd name="connsiteX12" fmla="*/ 0 w 12192000"/>
              <a:gd name="connsiteY12" fmla="*/ 2209238 h 4463002"/>
              <a:gd name="connsiteX13" fmla="*/ 0 w 12192000"/>
              <a:gd name="connsiteY13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8245750 w 12192000"/>
              <a:gd name="connsiteY8" fmla="*/ 2210393 h 4463002"/>
              <a:gd name="connsiteX9" fmla="*/ 5343524 w 12192000"/>
              <a:gd name="connsiteY9" fmla="*/ 2210393 h 4463002"/>
              <a:gd name="connsiteX10" fmla="*/ 5343524 w 12192000"/>
              <a:gd name="connsiteY10" fmla="*/ 2209238 h 4463002"/>
              <a:gd name="connsiteX11" fmla="*/ 0 w 12192000"/>
              <a:gd name="connsiteY11" fmla="*/ 2209238 h 4463002"/>
              <a:gd name="connsiteX12" fmla="*/ 0 w 12192000"/>
              <a:gd name="connsiteY12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5343524 w 12192000"/>
              <a:gd name="connsiteY8" fmla="*/ 2210393 h 4463002"/>
              <a:gd name="connsiteX9" fmla="*/ 5343524 w 12192000"/>
              <a:gd name="connsiteY9" fmla="*/ 2209238 h 4463002"/>
              <a:gd name="connsiteX10" fmla="*/ 0 w 12192000"/>
              <a:gd name="connsiteY10" fmla="*/ 2209238 h 4463002"/>
              <a:gd name="connsiteX11" fmla="*/ 0 w 12192000"/>
              <a:gd name="connsiteY11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5343524 w 12192000"/>
              <a:gd name="connsiteY8" fmla="*/ 2210393 h 4463002"/>
              <a:gd name="connsiteX9" fmla="*/ 0 w 12192000"/>
              <a:gd name="connsiteY9" fmla="*/ 2209238 h 4463002"/>
              <a:gd name="connsiteX10" fmla="*/ 0 w 12192000"/>
              <a:gd name="connsiteY10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9747766 w 12192000"/>
              <a:gd name="connsiteY7" fmla="*/ 2210393 h 4463002"/>
              <a:gd name="connsiteX8" fmla="*/ 0 w 12192000"/>
              <a:gd name="connsiteY8" fmla="*/ 2209238 h 4463002"/>
              <a:gd name="connsiteX9" fmla="*/ 0 w 12192000"/>
              <a:gd name="connsiteY9" fmla="*/ 0 h 4463002"/>
              <a:gd name="connsiteX0" fmla="*/ 0 w 12192000"/>
              <a:gd name="connsiteY0" fmla="*/ 0 h 4463002"/>
              <a:gd name="connsiteX1" fmla="*/ 12192000 w 12192000"/>
              <a:gd name="connsiteY1" fmla="*/ 0 h 4463002"/>
              <a:gd name="connsiteX2" fmla="*/ 12192000 w 12192000"/>
              <a:gd name="connsiteY2" fmla="*/ 4463002 h 4463002"/>
              <a:gd name="connsiteX3" fmla="*/ 12190378 w 12192000"/>
              <a:gd name="connsiteY3" fmla="*/ 4428749 h 4463002"/>
              <a:gd name="connsiteX4" fmla="*/ 9998648 w 12192000"/>
              <a:gd name="connsiteY4" fmla="*/ 2223060 h 4463002"/>
              <a:gd name="connsiteX5" fmla="*/ 9764803 w 12192000"/>
              <a:gd name="connsiteY5" fmla="*/ 2211252 h 4463002"/>
              <a:gd name="connsiteX6" fmla="*/ 9764803 w 12192000"/>
              <a:gd name="connsiteY6" fmla="*/ 2210393 h 4463002"/>
              <a:gd name="connsiteX7" fmla="*/ 0 w 12192000"/>
              <a:gd name="connsiteY7" fmla="*/ 2209238 h 4463002"/>
              <a:gd name="connsiteX8" fmla="*/ 0 w 12192000"/>
              <a:gd name="connsiteY8" fmla="*/ 0 h 4463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463002">
                <a:moveTo>
                  <a:pt x="0" y="0"/>
                </a:moveTo>
                <a:lnTo>
                  <a:pt x="12192000" y="0"/>
                </a:lnTo>
                <a:lnTo>
                  <a:pt x="12192000" y="4463002"/>
                </a:lnTo>
                <a:cubicBezTo>
                  <a:pt x="12191459" y="4451584"/>
                  <a:pt x="12190919" y="4440167"/>
                  <a:pt x="12190378" y="4428749"/>
                </a:cubicBezTo>
                <a:cubicBezTo>
                  <a:pt x="12079768" y="3266647"/>
                  <a:pt x="11158638" y="2340865"/>
                  <a:pt x="9998648" y="2223060"/>
                </a:cubicBezTo>
                <a:lnTo>
                  <a:pt x="9764803" y="2211252"/>
                </a:lnTo>
                <a:lnTo>
                  <a:pt x="9764803" y="2210393"/>
                </a:lnTo>
                <a:lnTo>
                  <a:pt x="0" y="220923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1E215A6-E6FC-4D5A-9881-E87CC75074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3200" y="1"/>
            <a:ext cx="9432315" cy="2198972"/>
          </a:xfrm>
          <a:custGeom>
            <a:avLst/>
            <a:gdLst>
              <a:gd name="connsiteX0" fmla="*/ 0 w 10240035"/>
              <a:gd name="connsiteY0" fmla="*/ 0 h 2198971"/>
              <a:gd name="connsiteX1" fmla="*/ 10240035 w 10240035"/>
              <a:gd name="connsiteY1" fmla="*/ 0 h 2198971"/>
              <a:gd name="connsiteX2" fmla="*/ 10240035 w 10240035"/>
              <a:gd name="connsiteY2" fmla="*/ 0 h 2198971"/>
              <a:gd name="connsiteX3" fmla="*/ 10240035 w 10240035"/>
              <a:gd name="connsiteY3" fmla="*/ 1099486 h 2198971"/>
              <a:gd name="connsiteX4" fmla="*/ 9140549 w 10240035"/>
              <a:gd name="connsiteY4" fmla="*/ 2198972 h 2198971"/>
              <a:gd name="connsiteX5" fmla="*/ 1099486 w 10240035"/>
              <a:gd name="connsiteY5" fmla="*/ 2198971 h 2198971"/>
              <a:gd name="connsiteX6" fmla="*/ 0 w 10240035"/>
              <a:gd name="connsiteY6" fmla="*/ 1099485 h 2198971"/>
              <a:gd name="connsiteX7" fmla="*/ 0 w 10240035"/>
              <a:gd name="connsiteY7" fmla="*/ 0 h 2198971"/>
              <a:gd name="connsiteX8" fmla="*/ 0 w 10240035"/>
              <a:gd name="connsiteY8" fmla="*/ 0 h 2198971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10240035 w 10240035"/>
              <a:gd name="connsiteY2" fmla="*/ 0 h 2198972"/>
              <a:gd name="connsiteX3" fmla="*/ 914054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10240035 w 10240035"/>
              <a:gd name="connsiteY2" fmla="*/ 0 h 2198972"/>
              <a:gd name="connsiteX3" fmla="*/ 914054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10240035 w 10240035"/>
              <a:gd name="connsiteY2" fmla="*/ 0 h 2198972"/>
              <a:gd name="connsiteX3" fmla="*/ 889670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10240035 w 10240035"/>
              <a:gd name="connsiteY2" fmla="*/ 0 h 2198972"/>
              <a:gd name="connsiteX3" fmla="*/ 869858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10240035 w 10240035"/>
              <a:gd name="connsiteY2" fmla="*/ 0 h 2198972"/>
              <a:gd name="connsiteX3" fmla="*/ 831758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10240035 w 10240035"/>
              <a:gd name="connsiteY2" fmla="*/ 0 h 2198972"/>
              <a:gd name="connsiteX3" fmla="*/ 795182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10240035 w 10240035"/>
              <a:gd name="connsiteY2" fmla="*/ 0 h 2198972"/>
              <a:gd name="connsiteX3" fmla="*/ 795182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9371355 w 10240035"/>
              <a:gd name="connsiteY2" fmla="*/ 152400 h 2198972"/>
              <a:gd name="connsiteX3" fmla="*/ 795182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9371355 w 10240035"/>
              <a:gd name="connsiteY2" fmla="*/ 152400 h 2198972"/>
              <a:gd name="connsiteX3" fmla="*/ 795182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9371355 w 10240035"/>
              <a:gd name="connsiteY2" fmla="*/ 152400 h 2198972"/>
              <a:gd name="connsiteX3" fmla="*/ 7951829 w 10240035"/>
              <a:gd name="connsiteY3" fmla="*/ 2198972 h 2198972"/>
              <a:gd name="connsiteX4" fmla="*/ 1099486 w 10240035"/>
              <a:gd name="connsiteY4" fmla="*/ 2198971 h 2198972"/>
              <a:gd name="connsiteX5" fmla="*/ 0 w 10240035"/>
              <a:gd name="connsiteY5" fmla="*/ 1099485 h 2198972"/>
              <a:gd name="connsiteX6" fmla="*/ 0 w 10240035"/>
              <a:gd name="connsiteY6" fmla="*/ 0 h 2198972"/>
              <a:gd name="connsiteX7" fmla="*/ 0 w 10240035"/>
              <a:gd name="connsiteY7" fmla="*/ 0 h 2198972"/>
              <a:gd name="connsiteX0" fmla="*/ 0 w 10661291"/>
              <a:gd name="connsiteY0" fmla="*/ 0 h 2198972"/>
              <a:gd name="connsiteX1" fmla="*/ 10240035 w 10661291"/>
              <a:gd name="connsiteY1" fmla="*/ 0 h 2198972"/>
              <a:gd name="connsiteX2" fmla="*/ 7951829 w 10661291"/>
              <a:gd name="connsiteY2" fmla="*/ 2198972 h 2198972"/>
              <a:gd name="connsiteX3" fmla="*/ 1099486 w 10661291"/>
              <a:gd name="connsiteY3" fmla="*/ 2198971 h 2198972"/>
              <a:gd name="connsiteX4" fmla="*/ 0 w 10661291"/>
              <a:gd name="connsiteY4" fmla="*/ 1099485 h 2198972"/>
              <a:gd name="connsiteX5" fmla="*/ 0 w 10661291"/>
              <a:gd name="connsiteY5" fmla="*/ 0 h 2198972"/>
              <a:gd name="connsiteX6" fmla="*/ 0 w 10661291"/>
              <a:gd name="connsiteY6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7951829 w 10240035"/>
              <a:gd name="connsiteY2" fmla="*/ 2198972 h 2198972"/>
              <a:gd name="connsiteX3" fmla="*/ 1099486 w 10240035"/>
              <a:gd name="connsiteY3" fmla="*/ 2198971 h 2198972"/>
              <a:gd name="connsiteX4" fmla="*/ 0 w 10240035"/>
              <a:gd name="connsiteY4" fmla="*/ 1099485 h 2198972"/>
              <a:gd name="connsiteX5" fmla="*/ 0 w 10240035"/>
              <a:gd name="connsiteY5" fmla="*/ 0 h 2198972"/>
              <a:gd name="connsiteX6" fmla="*/ 0 w 10240035"/>
              <a:gd name="connsiteY6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7951829 w 10240035"/>
              <a:gd name="connsiteY2" fmla="*/ 2198972 h 2198972"/>
              <a:gd name="connsiteX3" fmla="*/ 1099486 w 10240035"/>
              <a:gd name="connsiteY3" fmla="*/ 2198971 h 2198972"/>
              <a:gd name="connsiteX4" fmla="*/ 0 w 10240035"/>
              <a:gd name="connsiteY4" fmla="*/ 1099485 h 2198972"/>
              <a:gd name="connsiteX5" fmla="*/ 0 w 10240035"/>
              <a:gd name="connsiteY5" fmla="*/ 0 h 2198972"/>
              <a:gd name="connsiteX6" fmla="*/ 0 w 10240035"/>
              <a:gd name="connsiteY6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7951829 w 10240035"/>
              <a:gd name="connsiteY2" fmla="*/ 2198972 h 2198972"/>
              <a:gd name="connsiteX3" fmla="*/ 1099486 w 10240035"/>
              <a:gd name="connsiteY3" fmla="*/ 2198971 h 2198972"/>
              <a:gd name="connsiteX4" fmla="*/ 0 w 10240035"/>
              <a:gd name="connsiteY4" fmla="*/ 1099485 h 2198972"/>
              <a:gd name="connsiteX5" fmla="*/ 0 w 10240035"/>
              <a:gd name="connsiteY5" fmla="*/ 0 h 2198972"/>
              <a:gd name="connsiteX6" fmla="*/ 0 w 10240035"/>
              <a:gd name="connsiteY6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7951829 w 10240035"/>
              <a:gd name="connsiteY2" fmla="*/ 2198972 h 2198972"/>
              <a:gd name="connsiteX3" fmla="*/ 1099486 w 10240035"/>
              <a:gd name="connsiteY3" fmla="*/ 2198971 h 2198972"/>
              <a:gd name="connsiteX4" fmla="*/ 0 w 10240035"/>
              <a:gd name="connsiteY4" fmla="*/ 1099485 h 2198972"/>
              <a:gd name="connsiteX5" fmla="*/ 0 w 10240035"/>
              <a:gd name="connsiteY5" fmla="*/ 0 h 2198972"/>
              <a:gd name="connsiteX6" fmla="*/ 0 w 10240035"/>
              <a:gd name="connsiteY6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7951829 w 10240035"/>
              <a:gd name="connsiteY2" fmla="*/ 2198972 h 2198972"/>
              <a:gd name="connsiteX3" fmla="*/ 1099486 w 10240035"/>
              <a:gd name="connsiteY3" fmla="*/ 2198971 h 2198972"/>
              <a:gd name="connsiteX4" fmla="*/ 0 w 10240035"/>
              <a:gd name="connsiteY4" fmla="*/ 1099485 h 2198972"/>
              <a:gd name="connsiteX5" fmla="*/ 0 w 10240035"/>
              <a:gd name="connsiteY5" fmla="*/ 0 h 2198972"/>
              <a:gd name="connsiteX6" fmla="*/ 0 w 10240035"/>
              <a:gd name="connsiteY6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7951829 w 10240035"/>
              <a:gd name="connsiteY2" fmla="*/ 2198972 h 2198972"/>
              <a:gd name="connsiteX3" fmla="*/ 1099486 w 10240035"/>
              <a:gd name="connsiteY3" fmla="*/ 2198971 h 2198972"/>
              <a:gd name="connsiteX4" fmla="*/ 0 w 10240035"/>
              <a:gd name="connsiteY4" fmla="*/ 1099485 h 2198972"/>
              <a:gd name="connsiteX5" fmla="*/ 0 w 10240035"/>
              <a:gd name="connsiteY5" fmla="*/ 0 h 2198972"/>
              <a:gd name="connsiteX6" fmla="*/ 0 w 10240035"/>
              <a:gd name="connsiteY6" fmla="*/ 0 h 2198972"/>
              <a:gd name="connsiteX0" fmla="*/ 0 w 10240035"/>
              <a:gd name="connsiteY0" fmla="*/ 0 h 2198972"/>
              <a:gd name="connsiteX1" fmla="*/ 10240035 w 10240035"/>
              <a:gd name="connsiteY1" fmla="*/ 0 h 2198972"/>
              <a:gd name="connsiteX2" fmla="*/ 7951829 w 10240035"/>
              <a:gd name="connsiteY2" fmla="*/ 2198972 h 2198972"/>
              <a:gd name="connsiteX3" fmla="*/ 1099486 w 10240035"/>
              <a:gd name="connsiteY3" fmla="*/ 2198971 h 2198972"/>
              <a:gd name="connsiteX4" fmla="*/ 0 w 10240035"/>
              <a:gd name="connsiteY4" fmla="*/ 0 h 2198972"/>
              <a:gd name="connsiteX5" fmla="*/ 0 w 10240035"/>
              <a:gd name="connsiteY5" fmla="*/ 0 h 2198972"/>
              <a:gd name="connsiteX0" fmla="*/ 807720 w 10240035"/>
              <a:gd name="connsiteY0" fmla="*/ 0 h 2198972"/>
              <a:gd name="connsiteX1" fmla="*/ 10240035 w 10240035"/>
              <a:gd name="connsiteY1" fmla="*/ 0 h 2198972"/>
              <a:gd name="connsiteX2" fmla="*/ 7951829 w 10240035"/>
              <a:gd name="connsiteY2" fmla="*/ 2198972 h 2198972"/>
              <a:gd name="connsiteX3" fmla="*/ 1099486 w 10240035"/>
              <a:gd name="connsiteY3" fmla="*/ 2198971 h 2198972"/>
              <a:gd name="connsiteX4" fmla="*/ 0 w 10240035"/>
              <a:gd name="connsiteY4" fmla="*/ 0 h 2198972"/>
              <a:gd name="connsiteX5" fmla="*/ 807720 w 10240035"/>
              <a:gd name="connsiteY5" fmla="*/ 0 h 2198972"/>
              <a:gd name="connsiteX0" fmla="*/ 900020 w 10332335"/>
              <a:gd name="connsiteY0" fmla="*/ 0 h 2198972"/>
              <a:gd name="connsiteX1" fmla="*/ 10332335 w 10332335"/>
              <a:gd name="connsiteY1" fmla="*/ 0 h 2198972"/>
              <a:gd name="connsiteX2" fmla="*/ 8044129 w 10332335"/>
              <a:gd name="connsiteY2" fmla="*/ 2198972 h 2198972"/>
              <a:gd name="connsiteX3" fmla="*/ 1191786 w 10332335"/>
              <a:gd name="connsiteY3" fmla="*/ 2198971 h 2198972"/>
              <a:gd name="connsiteX4" fmla="*/ 900020 w 10332335"/>
              <a:gd name="connsiteY4" fmla="*/ 0 h 2198972"/>
              <a:gd name="connsiteX0" fmla="*/ 325154 w 9757469"/>
              <a:gd name="connsiteY0" fmla="*/ 0 h 2198972"/>
              <a:gd name="connsiteX1" fmla="*/ 9757469 w 9757469"/>
              <a:gd name="connsiteY1" fmla="*/ 0 h 2198972"/>
              <a:gd name="connsiteX2" fmla="*/ 7469263 w 9757469"/>
              <a:gd name="connsiteY2" fmla="*/ 2198972 h 2198972"/>
              <a:gd name="connsiteX3" fmla="*/ 616920 w 9757469"/>
              <a:gd name="connsiteY3" fmla="*/ 2198971 h 2198972"/>
              <a:gd name="connsiteX4" fmla="*/ 325154 w 9757469"/>
              <a:gd name="connsiteY4" fmla="*/ 0 h 2198972"/>
              <a:gd name="connsiteX0" fmla="*/ 0 w 9432315"/>
              <a:gd name="connsiteY0" fmla="*/ 0 h 2198972"/>
              <a:gd name="connsiteX1" fmla="*/ 9432315 w 9432315"/>
              <a:gd name="connsiteY1" fmla="*/ 0 h 2198972"/>
              <a:gd name="connsiteX2" fmla="*/ 7144109 w 9432315"/>
              <a:gd name="connsiteY2" fmla="*/ 2198972 h 2198972"/>
              <a:gd name="connsiteX3" fmla="*/ 291766 w 9432315"/>
              <a:gd name="connsiteY3" fmla="*/ 2198971 h 2198972"/>
              <a:gd name="connsiteX4" fmla="*/ 0 w 9432315"/>
              <a:gd name="connsiteY4" fmla="*/ 0 h 2198972"/>
              <a:gd name="connsiteX0" fmla="*/ 69347 w 9501662"/>
              <a:gd name="connsiteY0" fmla="*/ 0 h 2198972"/>
              <a:gd name="connsiteX1" fmla="*/ 9501662 w 9501662"/>
              <a:gd name="connsiteY1" fmla="*/ 0 h 2198972"/>
              <a:gd name="connsiteX2" fmla="*/ 7213456 w 9501662"/>
              <a:gd name="connsiteY2" fmla="*/ 2198972 h 2198972"/>
              <a:gd name="connsiteX3" fmla="*/ 86793 w 9501662"/>
              <a:gd name="connsiteY3" fmla="*/ 2198971 h 2198972"/>
              <a:gd name="connsiteX4" fmla="*/ 69347 w 9501662"/>
              <a:gd name="connsiteY4" fmla="*/ 0 h 2198972"/>
              <a:gd name="connsiteX0" fmla="*/ 0 w 9432315"/>
              <a:gd name="connsiteY0" fmla="*/ 0 h 2198972"/>
              <a:gd name="connsiteX1" fmla="*/ 9432315 w 9432315"/>
              <a:gd name="connsiteY1" fmla="*/ 0 h 2198972"/>
              <a:gd name="connsiteX2" fmla="*/ 7144109 w 9432315"/>
              <a:gd name="connsiteY2" fmla="*/ 2198972 h 2198972"/>
              <a:gd name="connsiteX3" fmla="*/ 17446 w 9432315"/>
              <a:gd name="connsiteY3" fmla="*/ 2198971 h 2198972"/>
              <a:gd name="connsiteX4" fmla="*/ 0 w 9432315"/>
              <a:gd name="connsiteY4" fmla="*/ 0 h 2198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32315" h="2198972">
                <a:moveTo>
                  <a:pt x="0" y="0"/>
                </a:moveTo>
                <a:lnTo>
                  <a:pt x="9432315" y="0"/>
                </a:lnTo>
                <a:cubicBezTo>
                  <a:pt x="9248860" y="1235175"/>
                  <a:pt x="8210334" y="2137277"/>
                  <a:pt x="7144109" y="2198972"/>
                </a:cubicBezTo>
                <a:lnTo>
                  <a:pt x="17446" y="2198971"/>
                </a:lnTo>
                <a:cubicBezTo>
                  <a:pt x="30721" y="1146676"/>
                  <a:pt x="575" y="838935"/>
                  <a:pt x="0" y="0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/>
          <a:lstStyle>
            <a:lvl1pPr marL="548640"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704EC18E-B48D-4AD7-A5B5-3D57255D1A2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6483" y="0"/>
            <a:ext cx="2773332" cy="2202508"/>
          </a:xfrm>
          <a:custGeom>
            <a:avLst/>
            <a:gdLst>
              <a:gd name="connsiteX0" fmla="*/ 0 w 2773332"/>
              <a:gd name="connsiteY0" fmla="*/ 0 h 2202508"/>
              <a:gd name="connsiteX1" fmla="*/ 2773332 w 2773332"/>
              <a:gd name="connsiteY1" fmla="*/ 0 h 2202508"/>
              <a:gd name="connsiteX2" fmla="*/ 2773332 w 2773332"/>
              <a:gd name="connsiteY2" fmla="*/ 2202508 h 2202508"/>
              <a:gd name="connsiteX3" fmla="*/ 0 w 2773332"/>
              <a:gd name="connsiteY3" fmla="*/ 2202508 h 220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3332" h="2202508">
                <a:moveTo>
                  <a:pt x="0" y="0"/>
                </a:moveTo>
                <a:lnTo>
                  <a:pt x="2773332" y="0"/>
                </a:lnTo>
                <a:lnTo>
                  <a:pt x="2773332" y="2202508"/>
                </a:lnTo>
                <a:lnTo>
                  <a:pt x="0" y="220250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FAE5A08C-2BA6-4754-806E-3BEAE8D2EC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6484" y="2202508"/>
            <a:ext cx="2773332" cy="2327746"/>
          </a:xfrm>
          <a:custGeom>
            <a:avLst/>
            <a:gdLst>
              <a:gd name="connsiteX0" fmla="*/ 0 w 2773332"/>
              <a:gd name="connsiteY0" fmla="*/ 0 h 2327746"/>
              <a:gd name="connsiteX1" fmla="*/ 2773332 w 2773332"/>
              <a:gd name="connsiteY1" fmla="*/ 0 h 2327746"/>
              <a:gd name="connsiteX2" fmla="*/ 2773332 w 2773332"/>
              <a:gd name="connsiteY2" fmla="*/ 2327746 h 2327746"/>
              <a:gd name="connsiteX3" fmla="*/ 0 w 2773332"/>
              <a:gd name="connsiteY3" fmla="*/ 2327746 h 232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3332" h="2327746">
                <a:moveTo>
                  <a:pt x="0" y="0"/>
                </a:moveTo>
                <a:lnTo>
                  <a:pt x="2773332" y="0"/>
                </a:lnTo>
                <a:lnTo>
                  <a:pt x="2773332" y="2327746"/>
                </a:lnTo>
                <a:lnTo>
                  <a:pt x="0" y="2327746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BE1FA0E-416C-4623-840A-A04A5237BC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6484" y="4530254"/>
            <a:ext cx="2773332" cy="2327746"/>
          </a:xfrm>
          <a:custGeom>
            <a:avLst/>
            <a:gdLst>
              <a:gd name="connsiteX0" fmla="*/ 0 w 2773332"/>
              <a:gd name="connsiteY0" fmla="*/ 0 h 2327746"/>
              <a:gd name="connsiteX1" fmla="*/ 2773332 w 2773332"/>
              <a:gd name="connsiteY1" fmla="*/ 0 h 2327746"/>
              <a:gd name="connsiteX2" fmla="*/ 2773332 w 2773332"/>
              <a:gd name="connsiteY2" fmla="*/ 2327746 h 2327746"/>
              <a:gd name="connsiteX3" fmla="*/ 0 w 2773332"/>
              <a:gd name="connsiteY3" fmla="*/ 2327746 h 2327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73332" h="2327746">
                <a:moveTo>
                  <a:pt x="0" y="0"/>
                </a:moveTo>
                <a:lnTo>
                  <a:pt x="2773332" y="0"/>
                </a:lnTo>
                <a:lnTo>
                  <a:pt x="2773332" y="2327746"/>
                </a:lnTo>
                <a:lnTo>
                  <a:pt x="0" y="2327746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3BD1FF0-3229-401F-AEC3-09AE70428E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52800" y="2794177"/>
            <a:ext cx="7476460" cy="338278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53C5C-8415-4BF0-810D-A4C22F695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2485D4-41D3-4182-8DFE-2E0713EC0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EBFEA-4321-48C4-9CA1-43517540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682927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C755B30B-7677-4AAC-9890-81A7EFF6BF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E5F686-1654-4CE7-8DA0-0D626B36E1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AA6281C-6C47-45BE-9BDA-1518A016E93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685798"/>
            <a:ext cx="4770783" cy="3217461"/>
          </a:xfrm>
        </p:spPr>
        <p:txBody>
          <a:bodyPr>
            <a:norm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l"/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AC1FE5B8-D695-49EA-BEA4-B9282CC4EF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57901" y="1"/>
            <a:ext cx="6134099" cy="6857999"/>
          </a:xfrm>
          <a:custGeom>
            <a:avLst/>
            <a:gdLst>
              <a:gd name="connsiteX0" fmla="*/ 2378699 w 6134099"/>
              <a:gd name="connsiteY0" fmla="*/ 0 h 6857999"/>
              <a:gd name="connsiteX1" fmla="*/ 6134099 w 6134099"/>
              <a:gd name="connsiteY1" fmla="*/ 0 h 6857999"/>
              <a:gd name="connsiteX2" fmla="*/ 6134099 w 6134099"/>
              <a:gd name="connsiteY2" fmla="*/ 6857999 h 6857999"/>
              <a:gd name="connsiteX3" fmla="*/ 2401766 w 6134099"/>
              <a:gd name="connsiteY3" fmla="*/ 6857999 h 6857999"/>
              <a:gd name="connsiteX4" fmla="*/ 2397402 w 6134099"/>
              <a:gd name="connsiteY4" fmla="*/ 6856523 h 6857999"/>
              <a:gd name="connsiteX5" fmla="*/ 0 w 6134099"/>
              <a:gd name="connsiteY5" fmla="*/ 3424574 h 6857999"/>
              <a:gd name="connsiteX6" fmla="*/ 2231484 w 6134099"/>
              <a:gd name="connsiteY6" fmla="*/ 5804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34099" h="6857999">
                <a:moveTo>
                  <a:pt x="2378699" y="0"/>
                </a:moveTo>
                <a:lnTo>
                  <a:pt x="6134099" y="0"/>
                </a:lnTo>
                <a:lnTo>
                  <a:pt x="6134099" y="6857999"/>
                </a:lnTo>
                <a:lnTo>
                  <a:pt x="2401766" y="6857999"/>
                </a:lnTo>
                <a:lnTo>
                  <a:pt x="2397402" y="6856523"/>
                </a:lnTo>
                <a:cubicBezTo>
                  <a:pt x="998410" y="6344283"/>
                  <a:pt x="0" y="5001024"/>
                  <a:pt x="0" y="3424574"/>
                </a:cubicBezTo>
                <a:cubicBezTo>
                  <a:pt x="0" y="1911182"/>
                  <a:pt x="920134" y="612699"/>
                  <a:pt x="2231484" y="58045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24FC61A-6DA9-444C-9D55-2FE464BD5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4327140"/>
            <a:ext cx="11576868" cy="2530860"/>
          </a:xfrm>
          <a:custGeom>
            <a:avLst/>
            <a:gdLst>
              <a:gd name="connsiteX0" fmla="*/ 0 w 11576868"/>
              <a:gd name="connsiteY0" fmla="*/ 0 h 2500380"/>
              <a:gd name="connsiteX1" fmla="*/ 10326678 w 11576868"/>
              <a:gd name="connsiteY1" fmla="*/ 0 h 2500380"/>
              <a:gd name="connsiteX2" fmla="*/ 11576868 w 11576868"/>
              <a:gd name="connsiteY2" fmla="*/ 1250190 h 2500380"/>
              <a:gd name="connsiteX3" fmla="*/ 11576868 w 11576868"/>
              <a:gd name="connsiteY3" fmla="*/ 2500380 h 2500380"/>
              <a:gd name="connsiteX4" fmla="*/ 0 w 11576868"/>
              <a:gd name="connsiteY4" fmla="*/ 2500380 h 2500380"/>
              <a:gd name="connsiteX5" fmla="*/ 0 w 11576868"/>
              <a:gd name="connsiteY5" fmla="*/ 0 h 2500380"/>
              <a:gd name="connsiteX0" fmla="*/ 0 w 12449160"/>
              <a:gd name="connsiteY0" fmla="*/ 0 h 2500380"/>
              <a:gd name="connsiteX1" fmla="*/ 10326678 w 12449160"/>
              <a:gd name="connsiteY1" fmla="*/ 0 h 2500380"/>
              <a:gd name="connsiteX2" fmla="*/ 11576868 w 12449160"/>
              <a:gd name="connsiteY2" fmla="*/ 2500380 h 2500380"/>
              <a:gd name="connsiteX3" fmla="*/ 0 w 12449160"/>
              <a:gd name="connsiteY3" fmla="*/ 2500380 h 2500380"/>
              <a:gd name="connsiteX4" fmla="*/ 0 w 12449160"/>
              <a:gd name="connsiteY4" fmla="*/ 0 h 2500380"/>
              <a:gd name="connsiteX0" fmla="*/ 0 w 11640738"/>
              <a:gd name="connsiteY0" fmla="*/ 0 h 2500380"/>
              <a:gd name="connsiteX1" fmla="*/ 10326678 w 11640738"/>
              <a:gd name="connsiteY1" fmla="*/ 0 h 2500380"/>
              <a:gd name="connsiteX2" fmla="*/ 11576868 w 11640738"/>
              <a:gd name="connsiteY2" fmla="*/ 2500380 h 2500380"/>
              <a:gd name="connsiteX3" fmla="*/ 0 w 11640738"/>
              <a:gd name="connsiteY3" fmla="*/ 2500380 h 2500380"/>
              <a:gd name="connsiteX4" fmla="*/ 0 w 11640738"/>
              <a:gd name="connsiteY4" fmla="*/ 0 h 2500380"/>
              <a:gd name="connsiteX0" fmla="*/ 0 w 11576868"/>
              <a:gd name="connsiteY0" fmla="*/ 0 h 2500380"/>
              <a:gd name="connsiteX1" fmla="*/ 10326678 w 11576868"/>
              <a:gd name="connsiteY1" fmla="*/ 0 h 2500380"/>
              <a:gd name="connsiteX2" fmla="*/ 11576868 w 11576868"/>
              <a:gd name="connsiteY2" fmla="*/ 2500380 h 2500380"/>
              <a:gd name="connsiteX3" fmla="*/ 0 w 11576868"/>
              <a:gd name="connsiteY3" fmla="*/ 2500380 h 2500380"/>
              <a:gd name="connsiteX4" fmla="*/ 0 w 11576868"/>
              <a:gd name="connsiteY4" fmla="*/ 0 h 2500380"/>
              <a:gd name="connsiteX0" fmla="*/ 0 w 11576868"/>
              <a:gd name="connsiteY0" fmla="*/ 0 h 2500380"/>
              <a:gd name="connsiteX1" fmla="*/ 9732318 w 11576868"/>
              <a:gd name="connsiteY1" fmla="*/ 0 h 2500380"/>
              <a:gd name="connsiteX2" fmla="*/ 11576868 w 11576868"/>
              <a:gd name="connsiteY2" fmla="*/ 2500380 h 2500380"/>
              <a:gd name="connsiteX3" fmla="*/ 0 w 11576868"/>
              <a:gd name="connsiteY3" fmla="*/ 2500380 h 2500380"/>
              <a:gd name="connsiteX4" fmla="*/ 0 w 11576868"/>
              <a:gd name="connsiteY4" fmla="*/ 0 h 2500380"/>
              <a:gd name="connsiteX0" fmla="*/ 0 w 11576868"/>
              <a:gd name="connsiteY0" fmla="*/ 0 h 2500380"/>
              <a:gd name="connsiteX1" fmla="*/ 9092238 w 11576868"/>
              <a:gd name="connsiteY1" fmla="*/ 0 h 2500380"/>
              <a:gd name="connsiteX2" fmla="*/ 11576868 w 11576868"/>
              <a:gd name="connsiteY2" fmla="*/ 2500380 h 2500380"/>
              <a:gd name="connsiteX3" fmla="*/ 0 w 11576868"/>
              <a:gd name="connsiteY3" fmla="*/ 2500380 h 2500380"/>
              <a:gd name="connsiteX4" fmla="*/ 0 w 11576868"/>
              <a:gd name="connsiteY4" fmla="*/ 0 h 2500380"/>
              <a:gd name="connsiteX0" fmla="*/ 0 w 11576868"/>
              <a:gd name="connsiteY0" fmla="*/ 0 h 2500380"/>
              <a:gd name="connsiteX1" fmla="*/ 8817918 w 11576868"/>
              <a:gd name="connsiteY1" fmla="*/ 0 h 2500380"/>
              <a:gd name="connsiteX2" fmla="*/ 11576868 w 11576868"/>
              <a:gd name="connsiteY2" fmla="*/ 2500380 h 2500380"/>
              <a:gd name="connsiteX3" fmla="*/ 0 w 11576868"/>
              <a:gd name="connsiteY3" fmla="*/ 2500380 h 2500380"/>
              <a:gd name="connsiteX4" fmla="*/ 0 w 11576868"/>
              <a:gd name="connsiteY4" fmla="*/ 0 h 2500380"/>
              <a:gd name="connsiteX0" fmla="*/ 0 w 11576868"/>
              <a:gd name="connsiteY0" fmla="*/ 0 h 2500380"/>
              <a:gd name="connsiteX1" fmla="*/ 8558838 w 11576868"/>
              <a:gd name="connsiteY1" fmla="*/ 0 h 2500380"/>
              <a:gd name="connsiteX2" fmla="*/ 11576868 w 11576868"/>
              <a:gd name="connsiteY2" fmla="*/ 2500380 h 2500380"/>
              <a:gd name="connsiteX3" fmla="*/ 0 w 11576868"/>
              <a:gd name="connsiteY3" fmla="*/ 2500380 h 2500380"/>
              <a:gd name="connsiteX4" fmla="*/ 0 w 11576868"/>
              <a:gd name="connsiteY4" fmla="*/ 0 h 2500380"/>
              <a:gd name="connsiteX0" fmla="*/ 0 w 11576868"/>
              <a:gd name="connsiteY0" fmla="*/ 10567 h 2510947"/>
              <a:gd name="connsiteX1" fmla="*/ 8558838 w 11576868"/>
              <a:gd name="connsiteY1" fmla="*/ 10567 h 2510947"/>
              <a:gd name="connsiteX2" fmla="*/ 11576868 w 11576868"/>
              <a:gd name="connsiteY2" fmla="*/ 2510947 h 2510947"/>
              <a:gd name="connsiteX3" fmla="*/ 0 w 11576868"/>
              <a:gd name="connsiteY3" fmla="*/ 2510947 h 2510947"/>
              <a:gd name="connsiteX4" fmla="*/ 0 w 11576868"/>
              <a:gd name="connsiteY4" fmla="*/ 10567 h 2510947"/>
              <a:gd name="connsiteX0" fmla="*/ 0 w 11576868"/>
              <a:gd name="connsiteY0" fmla="*/ 462 h 2500842"/>
              <a:gd name="connsiteX1" fmla="*/ 8558838 w 11576868"/>
              <a:gd name="connsiteY1" fmla="*/ 462 h 2500842"/>
              <a:gd name="connsiteX2" fmla="*/ 11576868 w 11576868"/>
              <a:gd name="connsiteY2" fmla="*/ 2500842 h 2500842"/>
              <a:gd name="connsiteX3" fmla="*/ 0 w 11576868"/>
              <a:gd name="connsiteY3" fmla="*/ 2500842 h 2500842"/>
              <a:gd name="connsiteX4" fmla="*/ 0 w 11576868"/>
              <a:gd name="connsiteY4" fmla="*/ 462 h 2500842"/>
              <a:gd name="connsiteX0" fmla="*/ 0 w 11576868"/>
              <a:gd name="connsiteY0" fmla="*/ 30928 h 2531308"/>
              <a:gd name="connsiteX1" fmla="*/ 8558838 w 11576868"/>
              <a:gd name="connsiteY1" fmla="*/ 448 h 2531308"/>
              <a:gd name="connsiteX2" fmla="*/ 11576868 w 11576868"/>
              <a:gd name="connsiteY2" fmla="*/ 2531308 h 2531308"/>
              <a:gd name="connsiteX3" fmla="*/ 0 w 11576868"/>
              <a:gd name="connsiteY3" fmla="*/ 2531308 h 2531308"/>
              <a:gd name="connsiteX4" fmla="*/ 0 w 11576868"/>
              <a:gd name="connsiteY4" fmla="*/ 30928 h 2531308"/>
              <a:gd name="connsiteX0" fmla="*/ 0 w 11576868"/>
              <a:gd name="connsiteY0" fmla="*/ 30480 h 2530860"/>
              <a:gd name="connsiteX1" fmla="*/ 8558838 w 11576868"/>
              <a:gd name="connsiteY1" fmla="*/ 0 h 2530860"/>
              <a:gd name="connsiteX2" fmla="*/ 11576868 w 11576868"/>
              <a:gd name="connsiteY2" fmla="*/ 2530860 h 2530860"/>
              <a:gd name="connsiteX3" fmla="*/ 0 w 11576868"/>
              <a:gd name="connsiteY3" fmla="*/ 2530860 h 2530860"/>
              <a:gd name="connsiteX4" fmla="*/ 0 w 11576868"/>
              <a:gd name="connsiteY4" fmla="*/ 30480 h 2530860"/>
              <a:gd name="connsiteX0" fmla="*/ 0 w 11576868"/>
              <a:gd name="connsiteY0" fmla="*/ 30480 h 2530860"/>
              <a:gd name="connsiteX1" fmla="*/ 8558838 w 11576868"/>
              <a:gd name="connsiteY1" fmla="*/ 0 h 2530860"/>
              <a:gd name="connsiteX2" fmla="*/ 11576868 w 11576868"/>
              <a:gd name="connsiteY2" fmla="*/ 2530860 h 2530860"/>
              <a:gd name="connsiteX3" fmla="*/ 0 w 11576868"/>
              <a:gd name="connsiteY3" fmla="*/ 2530860 h 2530860"/>
              <a:gd name="connsiteX4" fmla="*/ 0 w 11576868"/>
              <a:gd name="connsiteY4" fmla="*/ 30480 h 2530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76868" h="2530860">
                <a:moveTo>
                  <a:pt x="0" y="30480"/>
                </a:moveTo>
                <a:lnTo>
                  <a:pt x="8558838" y="0"/>
                </a:lnTo>
                <a:cubicBezTo>
                  <a:pt x="10335916" y="20490"/>
                  <a:pt x="11453941" y="1016850"/>
                  <a:pt x="11576868" y="2530860"/>
                </a:cubicBezTo>
                <a:lnTo>
                  <a:pt x="0" y="2530860"/>
                </a:lnTo>
                <a:lnTo>
                  <a:pt x="0" y="30480"/>
                </a:lnTo>
                <a:close/>
              </a:path>
            </a:pathLst>
          </a:custGeom>
          <a:solidFill>
            <a:schemeClr val="accent2">
              <a:lumMod val="75000"/>
              <a:alpha val="80000"/>
            </a:schemeClr>
          </a:solidFill>
        </p:spPr>
        <p:txBody>
          <a:bodyPr anchor="t"/>
          <a:lstStyle>
            <a:lvl1pPr marL="914400" indent="0">
              <a:lnSpc>
                <a:spcPct val="400000"/>
              </a:lnSpc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Click to edit Master subtitle style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26520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Chart Tabl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99839C-7D7A-49F1-8BFE-85C6C7D78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256" y="448056"/>
            <a:ext cx="9914859" cy="13290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E748DC-EBB9-44C6-8566-38F87FF7FD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19673"/>
            <a:ext cx="9914860" cy="412331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A2F5AB-D8C6-4AE1-8FAE-CD0499CB6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4400" y="6437376"/>
            <a:ext cx="3775914" cy="36512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342198-F50F-4C8A-9BD9-4CC3950F8F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23285" y="6434524"/>
            <a:ext cx="2067867" cy="365125"/>
          </a:xfrm>
        </p:spPr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5C58D8-B582-4DB3-A94D-056240199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11355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Chart Table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99839C-7D7A-49F1-8BFE-85C6C7D78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256" y="448056"/>
            <a:ext cx="9914859" cy="13290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E748DC-EBB9-44C6-8566-38F87FF7FD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3440" y="1825625"/>
            <a:ext cx="1050036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A2F5AB-D8C6-4AE1-8FAE-CD0499CB6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14400" y="6437376"/>
            <a:ext cx="3775914" cy="36512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342198-F50F-4C8A-9BD9-4CC3950F8F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23285" y="6434524"/>
            <a:ext cx="2067867" cy="365125"/>
          </a:xfrm>
        </p:spPr>
        <p:txBody>
          <a:bodyPr/>
          <a:lstStyle>
            <a:lvl1pPr algn="r"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5C58D8-B582-4DB3-A94D-056240199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06514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/ Speakers | 3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5D51C2DC-4571-42B4-89F2-DA6662BE5E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Team/Speakers 3 columns 4 rows</a:t>
            </a:r>
            <a:endParaRPr lang="en-GB" dirty="0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B4DF1173-C29F-45AC-92AA-916D11D8E0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40230" y="1612706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7AC79D67-C678-414C-AF90-8C02E28CA9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1452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D84CF9F7-FEFA-4F30-8381-81E1CDC7DE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65003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 dirty="0"/>
              <a:t>@social_hand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C320D465-6541-42AF-B948-F179CCF7EE8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96225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C8238BF7-B55E-43DD-99B0-CDFDFE29FD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89776" y="1613916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 dirty="0"/>
              <a:t>@social_handle</a:t>
            </a:r>
          </a:p>
        </p:txBody>
      </p:sp>
      <p:sp>
        <p:nvSpPr>
          <p:cNvPr id="50" name="Picture Placeholder 7">
            <a:extLst>
              <a:ext uri="{FF2B5EF4-FFF2-40B4-BE49-F238E27FC236}">
                <a16:creationId xmlns:a16="http://schemas.microsoft.com/office/drawing/2014/main" id="{0BEA5C06-8D59-4BD3-9B33-5696A4BC522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20998" y="1481496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2" name="Picture Placeholder 7">
            <a:extLst>
              <a:ext uri="{FF2B5EF4-FFF2-40B4-BE49-F238E27FC236}">
                <a16:creationId xmlns:a16="http://schemas.microsoft.com/office/drawing/2014/main" id="{00A16A42-CA42-49E2-8405-AA0CAF0311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71452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4" name="Picture Placeholder 7">
            <a:extLst>
              <a:ext uri="{FF2B5EF4-FFF2-40B4-BE49-F238E27FC236}">
                <a16:creationId xmlns:a16="http://schemas.microsoft.com/office/drawing/2014/main" id="{8FBF5889-E52E-4268-BCFD-13AA1E933F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396225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6" name="Picture Placeholder 7">
            <a:extLst>
              <a:ext uri="{FF2B5EF4-FFF2-40B4-BE49-F238E27FC236}">
                <a16:creationId xmlns:a16="http://schemas.microsoft.com/office/drawing/2014/main" id="{F3DB35B0-B095-4BB6-B438-419AB248A329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220998" y="2691078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8" name="Picture Placeholder 7">
            <a:extLst>
              <a:ext uri="{FF2B5EF4-FFF2-40B4-BE49-F238E27FC236}">
                <a16:creationId xmlns:a16="http://schemas.microsoft.com/office/drawing/2014/main" id="{C0FB45DF-4505-4104-B3AB-1FF0A095BB4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71452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0" name="Picture Placeholder 7">
            <a:extLst>
              <a:ext uri="{FF2B5EF4-FFF2-40B4-BE49-F238E27FC236}">
                <a16:creationId xmlns:a16="http://schemas.microsoft.com/office/drawing/2014/main" id="{317AD999-FECF-4E8A-A9F4-237EBF5CB42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96225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2" name="Picture Placeholder 7">
            <a:extLst>
              <a:ext uri="{FF2B5EF4-FFF2-40B4-BE49-F238E27FC236}">
                <a16:creationId xmlns:a16="http://schemas.microsoft.com/office/drawing/2014/main" id="{5D78DD9A-7A3B-4479-A356-D1201169A1E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220998" y="5110241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C9B18172-AE91-486D-B3BF-BB4501ABE8A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71452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F64BBF40-4B6E-4EED-9A4A-53F588F6905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396225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BA5CBA95-71BA-4D1C-9702-C09A59DB5A04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8220998" y="3900659"/>
            <a:ext cx="829872" cy="814863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849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DE3C1140-BD03-4998-B2C4-28410F93C64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740230" y="2822288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FFE703FA-9332-4A8A-B58E-5F35E54BCDF8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65003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 dirty="0"/>
              <a:t>@social_handl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C44D164-2308-4F92-8C1F-02E8B7DE078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389776" y="2823498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 dirty="0"/>
              <a:t>@social_handle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3423B415-66AA-45CD-A323-3A2A488B71A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740230" y="4031870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CB7D5369-1728-4112-B4F1-ED60D3FE7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65003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 dirty="0"/>
              <a:t>@social_handle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9AEBD6C7-E5B0-401A-A86F-E5112062611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389776" y="4033080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 dirty="0"/>
              <a:t>@social_handle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77E20DC-EB84-47ED-8BD7-B4FF8C116E3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740230" y="5241451"/>
            <a:ext cx="2276275" cy="552443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spcBef>
                <a:spcPts val="0"/>
              </a:spcBef>
              <a:buFontTx/>
              <a:buNone/>
              <a:defRPr sz="970"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59FE56BC-3699-4F5D-A9A7-2D0424B49BE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65003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 dirty="0"/>
              <a:t>@social_handle</a:t>
            </a:r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C9243CCE-E7FC-4AA9-B6B0-2E7FCC8D0DF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389776" y="5242661"/>
            <a:ext cx="2276275" cy="550022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092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70"/>
            </a:lvl2pPr>
            <a:lvl3pPr marL="0" indent="0">
              <a:buFontTx/>
              <a:buNone/>
              <a:defRPr lang="en-GB" sz="97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marL="0" lvl="2" indent="0" algn="l" defTabSz="554492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GB" dirty="0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3907162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Quo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F47EA1B-2641-431A-B894-4A66FC5A0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16200000">
            <a:off x="6246663" y="-1789711"/>
            <a:ext cx="3354778" cy="6934200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21A2820-A76E-454D-9A0E-F8F7B2136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9327" y="919717"/>
            <a:ext cx="5761074" cy="3423684"/>
          </a:xfr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0ED9A69A-6A32-4722-924D-7FEFEA9195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49327" y="4795284"/>
            <a:ext cx="4846674" cy="1084522"/>
          </a:xfrm>
        </p:spPr>
        <p:txBody>
          <a:bodyPr/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Click to edit Master subtitle sty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1587820-C6FA-402E-9F8D-2DAE5BF95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4513861" y="3447061"/>
            <a:ext cx="3354778" cy="3467100"/>
          </a:xfrm>
          <a:custGeom>
            <a:avLst/>
            <a:gdLst>
              <a:gd name="connsiteX0" fmla="*/ 0 w 2353172"/>
              <a:gd name="connsiteY0" fmla="*/ 0 h 2431959"/>
              <a:gd name="connsiteX1" fmla="*/ 2353172 w 2353172"/>
              <a:gd name="connsiteY1" fmla="*/ 0 h 2431959"/>
              <a:gd name="connsiteX2" fmla="*/ 2353172 w 2353172"/>
              <a:gd name="connsiteY2" fmla="*/ 2431959 h 2431959"/>
              <a:gd name="connsiteX3" fmla="*/ 2352312 w 2353172"/>
              <a:gd name="connsiteY3" fmla="*/ 2431959 h 2431959"/>
              <a:gd name="connsiteX4" fmla="*/ 2340504 w 2353172"/>
              <a:gd name="connsiteY4" fmla="*/ 2198113 h 2431959"/>
              <a:gd name="connsiteX5" fmla="*/ 134816 w 2353172"/>
              <a:gd name="connsiteY5" fmla="*/ 6383 h 2431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53172" h="2431959">
                <a:moveTo>
                  <a:pt x="0" y="0"/>
                </a:moveTo>
                <a:lnTo>
                  <a:pt x="2353172" y="0"/>
                </a:lnTo>
                <a:lnTo>
                  <a:pt x="2353172" y="2431959"/>
                </a:lnTo>
                <a:lnTo>
                  <a:pt x="2352312" y="2431959"/>
                </a:lnTo>
                <a:lnTo>
                  <a:pt x="2340504" y="2198113"/>
                </a:lnTo>
                <a:cubicBezTo>
                  <a:pt x="2222700" y="1038123"/>
                  <a:pt x="1296917" y="116993"/>
                  <a:pt x="134816" y="6383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53C5C-8415-4BF0-810D-A4C22F695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52728" y="6434560"/>
            <a:ext cx="3428012" cy="365125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1E70801-1BA4-4276-9934-E418115C032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24800" y="1"/>
            <a:ext cx="4267200" cy="6858000"/>
          </a:xfrm>
          <a:custGeom>
            <a:avLst/>
            <a:gdLst>
              <a:gd name="connsiteX0" fmla="*/ 3466352 w 4267200"/>
              <a:gd name="connsiteY0" fmla="*/ 0 h 6858000"/>
              <a:gd name="connsiteX1" fmla="*/ 4267200 w 4267200"/>
              <a:gd name="connsiteY1" fmla="*/ 0 h 6858000"/>
              <a:gd name="connsiteX2" fmla="*/ 4267200 w 4267200"/>
              <a:gd name="connsiteY2" fmla="*/ 6858000 h 6858000"/>
              <a:gd name="connsiteX3" fmla="*/ 0 w 4267200"/>
              <a:gd name="connsiteY3" fmla="*/ 6858000 h 6858000"/>
              <a:gd name="connsiteX4" fmla="*/ 0 w 4267200"/>
              <a:gd name="connsiteY4" fmla="*/ 3338980 h 6858000"/>
              <a:gd name="connsiteX5" fmla="*/ 8352 w 4267200"/>
              <a:gd name="connsiteY5" fmla="*/ 3162578 h 6858000"/>
              <a:gd name="connsiteX6" fmla="*/ 3132972 w 4267200"/>
              <a:gd name="connsiteY6" fmla="*/ 18059 h 6858000"/>
              <a:gd name="connsiteX7" fmla="*/ 3466352 w 4267200"/>
              <a:gd name="connsiteY7" fmla="*/ 12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67200" h="6858000">
                <a:moveTo>
                  <a:pt x="3466352" y="0"/>
                </a:moveTo>
                <a:lnTo>
                  <a:pt x="4267200" y="0"/>
                </a:lnTo>
                <a:lnTo>
                  <a:pt x="4267200" y="6858000"/>
                </a:lnTo>
                <a:lnTo>
                  <a:pt x="0" y="6858000"/>
                </a:lnTo>
                <a:lnTo>
                  <a:pt x="0" y="3338980"/>
                </a:lnTo>
                <a:lnTo>
                  <a:pt x="8352" y="3162578"/>
                </a:lnTo>
                <a:cubicBezTo>
                  <a:pt x="166042" y="1505839"/>
                  <a:pt x="1479242" y="186005"/>
                  <a:pt x="3132972" y="18059"/>
                </a:cubicBezTo>
                <a:lnTo>
                  <a:pt x="3466352" y="122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2485D4-41D3-4182-8DFE-2E0713EC0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EBFEA-4321-48C4-9CA1-43517540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53442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eam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BCA75F14-4851-4FA1-AF45-240D9124B9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AE08278-E6C4-4B25-8343-43C881C007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844850" y="1"/>
            <a:ext cx="2347151" cy="4454343"/>
          </a:xfrm>
          <a:custGeom>
            <a:avLst/>
            <a:gdLst>
              <a:gd name="connsiteX0" fmla="*/ 2329738 w 2347151"/>
              <a:gd name="connsiteY0" fmla="*/ 0 h 4454343"/>
              <a:gd name="connsiteX1" fmla="*/ 2347151 w 2347151"/>
              <a:gd name="connsiteY1" fmla="*/ 0 h 4454343"/>
              <a:gd name="connsiteX2" fmla="*/ 2347151 w 2347151"/>
              <a:gd name="connsiteY2" fmla="*/ 4454343 h 4454343"/>
              <a:gd name="connsiteX3" fmla="*/ 2340504 w 2347151"/>
              <a:gd name="connsiteY3" fmla="*/ 4322705 h 4454343"/>
              <a:gd name="connsiteX4" fmla="*/ 134816 w 2347151"/>
              <a:gd name="connsiteY4" fmla="*/ 2130974 h 4454343"/>
              <a:gd name="connsiteX5" fmla="*/ 0 w 2347151"/>
              <a:gd name="connsiteY5" fmla="*/ 2124591 h 4454343"/>
              <a:gd name="connsiteX6" fmla="*/ 134816 w 2347151"/>
              <a:gd name="connsiteY6" fmla="*/ 2118208 h 4454343"/>
              <a:gd name="connsiteX7" fmla="*/ 2309087 w 2347151"/>
              <a:gd name="connsiteY7" fmla="*/ 141037 h 4454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7151" h="4454343">
                <a:moveTo>
                  <a:pt x="2329738" y="0"/>
                </a:moveTo>
                <a:lnTo>
                  <a:pt x="2347151" y="0"/>
                </a:lnTo>
                <a:lnTo>
                  <a:pt x="2347151" y="4454343"/>
                </a:lnTo>
                <a:lnTo>
                  <a:pt x="2340504" y="4322705"/>
                </a:lnTo>
                <a:cubicBezTo>
                  <a:pt x="2222700" y="3162715"/>
                  <a:pt x="1296917" y="2241584"/>
                  <a:pt x="134816" y="2130974"/>
                </a:cubicBezTo>
                <a:lnTo>
                  <a:pt x="0" y="2124591"/>
                </a:lnTo>
                <a:lnTo>
                  <a:pt x="134816" y="2118208"/>
                </a:lnTo>
                <a:cubicBezTo>
                  <a:pt x="1224286" y="2014511"/>
                  <a:pt x="2106054" y="1198443"/>
                  <a:pt x="2309087" y="141037"/>
                </a:cubicBez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0CC2109-6984-401D-BF1D-B4F0C35B03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844850" y="-770"/>
            <a:ext cx="2347151" cy="4454343"/>
          </a:xfrm>
          <a:custGeom>
            <a:avLst/>
            <a:gdLst>
              <a:gd name="connsiteX0" fmla="*/ 2329738 w 2347151"/>
              <a:gd name="connsiteY0" fmla="*/ 0 h 4454343"/>
              <a:gd name="connsiteX1" fmla="*/ 2347151 w 2347151"/>
              <a:gd name="connsiteY1" fmla="*/ 0 h 4454343"/>
              <a:gd name="connsiteX2" fmla="*/ 2347151 w 2347151"/>
              <a:gd name="connsiteY2" fmla="*/ 4454343 h 4454343"/>
              <a:gd name="connsiteX3" fmla="*/ 2340504 w 2347151"/>
              <a:gd name="connsiteY3" fmla="*/ 4322705 h 4454343"/>
              <a:gd name="connsiteX4" fmla="*/ 134816 w 2347151"/>
              <a:gd name="connsiteY4" fmla="*/ 2130974 h 4454343"/>
              <a:gd name="connsiteX5" fmla="*/ 0 w 2347151"/>
              <a:gd name="connsiteY5" fmla="*/ 2124591 h 4454343"/>
              <a:gd name="connsiteX6" fmla="*/ 134816 w 2347151"/>
              <a:gd name="connsiteY6" fmla="*/ 2118208 h 4454343"/>
              <a:gd name="connsiteX7" fmla="*/ 2309087 w 2347151"/>
              <a:gd name="connsiteY7" fmla="*/ 141037 h 4454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7151" h="4454343">
                <a:moveTo>
                  <a:pt x="2329738" y="0"/>
                </a:moveTo>
                <a:lnTo>
                  <a:pt x="2347151" y="0"/>
                </a:lnTo>
                <a:lnTo>
                  <a:pt x="2347151" y="4454343"/>
                </a:lnTo>
                <a:lnTo>
                  <a:pt x="2340504" y="4322705"/>
                </a:lnTo>
                <a:cubicBezTo>
                  <a:pt x="2222700" y="3162715"/>
                  <a:pt x="1296917" y="2241584"/>
                  <a:pt x="134816" y="2130974"/>
                </a:cubicBezTo>
                <a:lnTo>
                  <a:pt x="0" y="2124591"/>
                </a:lnTo>
                <a:lnTo>
                  <a:pt x="134816" y="2118208"/>
                </a:lnTo>
                <a:cubicBezTo>
                  <a:pt x="1224286" y="2014511"/>
                  <a:pt x="2106054" y="1198443"/>
                  <a:pt x="2309087" y="141037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510ECF1-6DD2-4E35-8398-66D763897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0159"/>
            <a:ext cx="12191999" cy="2128731"/>
          </a:xfrm>
          <a:custGeom>
            <a:avLst/>
            <a:gdLst>
              <a:gd name="connsiteX0" fmla="*/ 0 w 12191999"/>
              <a:gd name="connsiteY0" fmla="*/ 0 h 2123863"/>
              <a:gd name="connsiteX1" fmla="*/ 12191999 w 12191999"/>
              <a:gd name="connsiteY1" fmla="*/ 0 h 2123863"/>
              <a:gd name="connsiteX2" fmla="*/ 12191999 w 12191999"/>
              <a:gd name="connsiteY2" fmla="*/ 0 h 2123863"/>
              <a:gd name="connsiteX3" fmla="*/ 12191999 w 12191999"/>
              <a:gd name="connsiteY3" fmla="*/ 1061932 h 2123863"/>
              <a:gd name="connsiteX4" fmla="*/ 11130067 w 12191999"/>
              <a:gd name="connsiteY4" fmla="*/ 2123864 h 2123863"/>
              <a:gd name="connsiteX5" fmla="*/ 1061932 w 12191999"/>
              <a:gd name="connsiteY5" fmla="*/ 2123863 h 2123863"/>
              <a:gd name="connsiteX6" fmla="*/ 0 w 12191999"/>
              <a:gd name="connsiteY6" fmla="*/ 1061931 h 2123863"/>
              <a:gd name="connsiteX7" fmla="*/ 0 w 12191999"/>
              <a:gd name="connsiteY7" fmla="*/ 0 h 2123863"/>
              <a:gd name="connsiteX8" fmla="*/ 0 w 12191999"/>
              <a:gd name="connsiteY8" fmla="*/ 0 h 2123863"/>
              <a:gd name="connsiteX0" fmla="*/ 0 w 12191999"/>
              <a:gd name="connsiteY0" fmla="*/ 0 h 2123864"/>
              <a:gd name="connsiteX1" fmla="*/ 12191999 w 12191999"/>
              <a:gd name="connsiteY1" fmla="*/ 0 h 2123864"/>
              <a:gd name="connsiteX2" fmla="*/ 12191999 w 12191999"/>
              <a:gd name="connsiteY2" fmla="*/ 0 h 2123864"/>
              <a:gd name="connsiteX3" fmla="*/ 11130067 w 12191999"/>
              <a:gd name="connsiteY3" fmla="*/ 2123864 h 2123864"/>
              <a:gd name="connsiteX4" fmla="*/ 1061932 w 12191999"/>
              <a:gd name="connsiteY4" fmla="*/ 2123863 h 2123864"/>
              <a:gd name="connsiteX5" fmla="*/ 0 w 12191999"/>
              <a:gd name="connsiteY5" fmla="*/ 1061931 h 2123864"/>
              <a:gd name="connsiteX6" fmla="*/ 0 w 12191999"/>
              <a:gd name="connsiteY6" fmla="*/ 0 h 2123864"/>
              <a:gd name="connsiteX7" fmla="*/ 0 w 12191999"/>
              <a:gd name="connsiteY7" fmla="*/ 0 h 2123864"/>
              <a:gd name="connsiteX0" fmla="*/ 0 w 12191999"/>
              <a:gd name="connsiteY0" fmla="*/ 0 h 2123863"/>
              <a:gd name="connsiteX1" fmla="*/ 12191999 w 12191999"/>
              <a:gd name="connsiteY1" fmla="*/ 0 h 2123863"/>
              <a:gd name="connsiteX2" fmla="*/ 12191999 w 12191999"/>
              <a:gd name="connsiteY2" fmla="*/ 0 h 2123863"/>
              <a:gd name="connsiteX3" fmla="*/ 10261387 w 12191999"/>
              <a:gd name="connsiteY3" fmla="*/ 2108624 h 2123863"/>
              <a:gd name="connsiteX4" fmla="*/ 1061932 w 12191999"/>
              <a:gd name="connsiteY4" fmla="*/ 2123863 h 2123863"/>
              <a:gd name="connsiteX5" fmla="*/ 0 w 12191999"/>
              <a:gd name="connsiteY5" fmla="*/ 1061931 h 2123863"/>
              <a:gd name="connsiteX6" fmla="*/ 0 w 12191999"/>
              <a:gd name="connsiteY6" fmla="*/ 0 h 2123863"/>
              <a:gd name="connsiteX7" fmla="*/ 0 w 12191999"/>
              <a:gd name="connsiteY7" fmla="*/ 0 h 2123863"/>
              <a:gd name="connsiteX0" fmla="*/ 0 w 12191999"/>
              <a:gd name="connsiteY0" fmla="*/ 0 h 2123863"/>
              <a:gd name="connsiteX1" fmla="*/ 12191999 w 12191999"/>
              <a:gd name="connsiteY1" fmla="*/ 0 h 2123863"/>
              <a:gd name="connsiteX2" fmla="*/ 12191999 w 12191999"/>
              <a:gd name="connsiteY2" fmla="*/ 0 h 2123863"/>
              <a:gd name="connsiteX3" fmla="*/ 9758467 w 12191999"/>
              <a:gd name="connsiteY3" fmla="*/ 2108624 h 2123863"/>
              <a:gd name="connsiteX4" fmla="*/ 1061932 w 12191999"/>
              <a:gd name="connsiteY4" fmla="*/ 2123863 h 2123863"/>
              <a:gd name="connsiteX5" fmla="*/ 0 w 12191999"/>
              <a:gd name="connsiteY5" fmla="*/ 1061931 h 2123863"/>
              <a:gd name="connsiteX6" fmla="*/ 0 w 12191999"/>
              <a:gd name="connsiteY6" fmla="*/ 0 h 2123863"/>
              <a:gd name="connsiteX7" fmla="*/ 0 w 12191999"/>
              <a:gd name="connsiteY7" fmla="*/ 0 h 2123863"/>
              <a:gd name="connsiteX0" fmla="*/ 0 w 12191999"/>
              <a:gd name="connsiteY0" fmla="*/ 0 h 2123864"/>
              <a:gd name="connsiteX1" fmla="*/ 12191999 w 12191999"/>
              <a:gd name="connsiteY1" fmla="*/ 0 h 2123864"/>
              <a:gd name="connsiteX2" fmla="*/ 12191999 w 12191999"/>
              <a:gd name="connsiteY2" fmla="*/ 0 h 2123864"/>
              <a:gd name="connsiteX3" fmla="*/ 9636547 w 12191999"/>
              <a:gd name="connsiteY3" fmla="*/ 2123864 h 2123864"/>
              <a:gd name="connsiteX4" fmla="*/ 1061932 w 12191999"/>
              <a:gd name="connsiteY4" fmla="*/ 2123863 h 2123864"/>
              <a:gd name="connsiteX5" fmla="*/ 0 w 12191999"/>
              <a:gd name="connsiteY5" fmla="*/ 1061931 h 2123864"/>
              <a:gd name="connsiteX6" fmla="*/ 0 w 12191999"/>
              <a:gd name="connsiteY6" fmla="*/ 0 h 2123864"/>
              <a:gd name="connsiteX7" fmla="*/ 0 w 12191999"/>
              <a:gd name="connsiteY7" fmla="*/ 0 h 2123864"/>
              <a:gd name="connsiteX0" fmla="*/ 0 w 12191999"/>
              <a:gd name="connsiteY0" fmla="*/ 0 h 2123864"/>
              <a:gd name="connsiteX1" fmla="*/ 12191999 w 12191999"/>
              <a:gd name="connsiteY1" fmla="*/ 0 h 2123864"/>
              <a:gd name="connsiteX2" fmla="*/ 12191999 w 12191999"/>
              <a:gd name="connsiteY2" fmla="*/ 0 h 2123864"/>
              <a:gd name="connsiteX3" fmla="*/ 9636547 w 12191999"/>
              <a:gd name="connsiteY3" fmla="*/ 2123864 h 2123864"/>
              <a:gd name="connsiteX4" fmla="*/ 1061932 w 12191999"/>
              <a:gd name="connsiteY4" fmla="*/ 2123863 h 2123864"/>
              <a:gd name="connsiteX5" fmla="*/ 0 w 12191999"/>
              <a:gd name="connsiteY5" fmla="*/ 1061931 h 2123864"/>
              <a:gd name="connsiteX6" fmla="*/ 0 w 12191999"/>
              <a:gd name="connsiteY6" fmla="*/ 0 h 2123864"/>
              <a:gd name="connsiteX7" fmla="*/ 0 w 12191999"/>
              <a:gd name="connsiteY7" fmla="*/ 0 h 2123864"/>
              <a:gd name="connsiteX0" fmla="*/ 0 w 12191999"/>
              <a:gd name="connsiteY0" fmla="*/ 0 h 2123864"/>
              <a:gd name="connsiteX1" fmla="*/ 12191999 w 12191999"/>
              <a:gd name="connsiteY1" fmla="*/ 0 h 2123864"/>
              <a:gd name="connsiteX2" fmla="*/ 11612879 w 12191999"/>
              <a:gd name="connsiteY2" fmla="*/ 381000 h 2123864"/>
              <a:gd name="connsiteX3" fmla="*/ 9636547 w 12191999"/>
              <a:gd name="connsiteY3" fmla="*/ 2123864 h 2123864"/>
              <a:gd name="connsiteX4" fmla="*/ 1061932 w 12191999"/>
              <a:gd name="connsiteY4" fmla="*/ 2123863 h 2123864"/>
              <a:gd name="connsiteX5" fmla="*/ 0 w 12191999"/>
              <a:gd name="connsiteY5" fmla="*/ 1061931 h 2123864"/>
              <a:gd name="connsiteX6" fmla="*/ 0 w 12191999"/>
              <a:gd name="connsiteY6" fmla="*/ 0 h 2123864"/>
              <a:gd name="connsiteX7" fmla="*/ 0 w 12191999"/>
              <a:gd name="connsiteY7" fmla="*/ 0 h 2123864"/>
              <a:gd name="connsiteX0" fmla="*/ 0 w 12191999"/>
              <a:gd name="connsiteY0" fmla="*/ 0 h 2123864"/>
              <a:gd name="connsiteX1" fmla="*/ 12191999 w 12191999"/>
              <a:gd name="connsiteY1" fmla="*/ 0 h 2123864"/>
              <a:gd name="connsiteX2" fmla="*/ 11612879 w 12191999"/>
              <a:gd name="connsiteY2" fmla="*/ 381000 h 2123864"/>
              <a:gd name="connsiteX3" fmla="*/ 9636547 w 12191999"/>
              <a:gd name="connsiteY3" fmla="*/ 2123864 h 2123864"/>
              <a:gd name="connsiteX4" fmla="*/ 1061932 w 12191999"/>
              <a:gd name="connsiteY4" fmla="*/ 2123863 h 2123864"/>
              <a:gd name="connsiteX5" fmla="*/ 0 w 12191999"/>
              <a:gd name="connsiteY5" fmla="*/ 1061931 h 2123864"/>
              <a:gd name="connsiteX6" fmla="*/ 0 w 12191999"/>
              <a:gd name="connsiteY6" fmla="*/ 0 h 2123864"/>
              <a:gd name="connsiteX7" fmla="*/ 0 w 12191999"/>
              <a:gd name="connsiteY7" fmla="*/ 0 h 2123864"/>
              <a:gd name="connsiteX0" fmla="*/ 0 w 12732723"/>
              <a:gd name="connsiteY0" fmla="*/ 0 h 2123864"/>
              <a:gd name="connsiteX1" fmla="*/ 12191999 w 12732723"/>
              <a:gd name="connsiteY1" fmla="*/ 0 h 2123864"/>
              <a:gd name="connsiteX2" fmla="*/ 9636547 w 12732723"/>
              <a:gd name="connsiteY2" fmla="*/ 2123864 h 2123864"/>
              <a:gd name="connsiteX3" fmla="*/ 1061932 w 12732723"/>
              <a:gd name="connsiteY3" fmla="*/ 2123863 h 2123864"/>
              <a:gd name="connsiteX4" fmla="*/ 0 w 12732723"/>
              <a:gd name="connsiteY4" fmla="*/ 1061931 h 2123864"/>
              <a:gd name="connsiteX5" fmla="*/ 0 w 12732723"/>
              <a:gd name="connsiteY5" fmla="*/ 0 h 2123864"/>
              <a:gd name="connsiteX6" fmla="*/ 0 w 12732723"/>
              <a:gd name="connsiteY6" fmla="*/ 0 h 2123864"/>
              <a:gd name="connsiteX0" fmla="*/ 0 w 12191999"/>
              <a:gd name="connsiteY0" fmla="*/ 0 h 2123864"/>
              <a:gd name="connsiteX1" fmla="*/ 12191999 w 12191999"/>
              <a:gd name="connsiteY1" fmla="*/ 0 h 2123864"/>
              <a:gd name="connsiteX2" fmla="*/ 9636547 w 12191999"/>
              <a:gd name="connsiteY2" fmla="*/ 2123864 h 2123864"/>
              <a:gd name="connsiteX3" fmla="*/ 1061932 w 12191999"/>
              <a:gd name="connsiteY3" fmla="*/ 2123863 h 2123864"/>
              <a:gd name="connsiteX4" fmla="*/ 0 w 12191999"/>
              <a:gd name="connsiteY4" fmla="*/ 1061931 h 2123864"/>
              <a:gd name="connsiteX5" fmla="*/ 0 w 12191999"/>
              <a:gd name="connsiteY5" fmla="*/ 0 h 2123864"/>
              <a:gd name="connsiteX6" fmla="*/ 0 w 12191999"/>
              <a:gd name="connsiteY6" fmla="*/ 0 h 2123864"/>
              <a:gd name="connsiteX0" fmla="*/ 0 w 12191999"/>
              <a:gd name="connsiteY0" fmla="*/ 0 h 2123864"/>
              <a:gd name="connsiteX1" fmla="*/ 12191999 w 12191999"/>
              <a:gd name="connsiteY1" fmla="*/ 0 h 2123864"/>
              <a:gd name="connsiteX2" fmla="*/ 9636547 w 12191999"/>
              <a:gd name="connsiteY2" fmla="*/ 2123864 h 2123864"/>
              <a:gd name="connsiteX3" fmla="*/ 1061932 w 12191999"/>
              <a:gd name="connsiteY3" fmla="*/ 2123863 h 2123864"/>
              <a:gd name="connsiteX4" fmla="*/ 0 w 12191999"/>
              <a:gd name="connsiteY4" fmla="*/ 1061931 h 2123864"/>
              <a:gd name="connsiteX5" fmla="*/ 0 w 12191999"/>
              <a:gd name="connsiteY5" fmla="*/ 0 h 2123864"/>
              <a:gd name="connsiteX6" fmla="*/ 0 w 12191999"/>
              <a:gd name="connsiteY6" fmla="*/ 0 h 2123864"/>
              <a:gd name="connsiteX0" fmla="*/ 0 w 12191999"/>
              <a:gd name="connsiteY0" fmla="*/ 0 h 2123864"/>
              <a:gd name="connsiteX1" fmla="*/ 12191999 w 12191999"/>
              <a:gd name="connsiteY1" fmla="*/ 0 h 2123864"/>
              <a:gd name="connsiteX2" fmla="*/ 9636547 w 12191999"/>
              <a:gd name="connsiteY2" fmla="*/ 2123864 h 2123864"/>
              <a:gd name="connsiteX3" fmla="*/ 1061932 w 12191999"/>
              <a:gd name="connsiteY3" fmla="*/ 2123863 h 2123864"/>
              <a:gd name="connsiteX4" fmla="*/ 0 w 12191999"/>
              <a:gd name="connsiteY4" fmla="*/ 1061931 h 2123864"/>
              <a:gd name="connsiteX5" fmla="*/ 0 w 12191999"/>
              <a:gd name="connsiteY5" fmla="*/ 0 h 2123864"/>
              <a:gd name="connsiteX6" fmla="*/ 0 w 12191999"/>
              <a:gd name="connsiteY6" fmla="*/ 0 h 2123864"/>
              <a:gd name="connsiteX0" fmla="*/ 0 w 12191999"/>
              <a:gd name="connsiteY0" fmla="*/ 0 h 2126534"/>
              <a:gd name="connsiteX1" fmla="*/ 12191999 w 12191999"/>
              <a:gd name="connsiteY1" fmla="*/ 0 h 2126534"/>
              <a:gd name="connsiteX2" fmla="*/ 9636547 w 12191999"/>
              <a:gd name="connsiteY2" fmla="*/ 2123864 h 2126534"/>
              <a:gd name="connsiteX3" fmla="*/ 1061932 w 12191999"/>
              <a:gd name="connsiteY3" fmla="*/ 2123863 h 2126534"/>
              <a:gd name="connsiteX4" fmla="*/ 0 w 12191999"/>
              <a:gd name="connsiteY4" fmla="*/ 1061931 h 2126534"/>
              <a:gd name="connsiteX5" fmla="*/ 0 w 12191999"/>
              <a:gd name="connsiteY5" fmla="*/ 0 h 2126534"/>
              <a:gd name="connsiteX6" fmla="*/ 0 w 12191999"/>
              <a:gd name="connsiteY6" fmla="*/ 0 h 2126534"/>
              <a:gd name="connsiteX0" fmla="*/ 0 w 12191999"/>
              <a:gd name="connsiteY0" fmla="*/ 0 h 2388136"/>
              <a:gd name="connsiteX1" fmla="*/ 12191999 w 12191999"/>
              <a:gd name="connsiteY1" fmla="*/ 0 h 2388136"/>
              <a:gd name="connsiteX2" fmla="*/ 9636547 w 12191999"/>
              <a:gd name="connsiteY2" fmla="*/ 2123864 h 2388136"/>
              <a:gd name="connsiteX3" fmla="*/ 1061932 w 12191999"/>
              <a:gd name="connsiteY3" fmla="*/ 2123863 h 2388136"/>
              <a:gd name="connsiteX4" fmla="*/ 0 w 12191999"/>
              <a:gd name="connsiteY4" fmla="*/ 2128731 h 2388136"/>
              <a:gd name="connsiteX5" fmla="*/ 0 w 12191999"/>
              <a:gd name="connsiteY5" fmla="*/ 0 h 2388136"/>
              <a:gd name="connsiteX6" fmla="*/ 0 w 12191999"/>
              <a:gd name="connsiteY6" fmla="*/ 0 h 2388136"/>
              <a:gd name="connsiteX0" fmla="*/ 0 w 12191999"/>
              <a:gd name="connsiteY0" fmla="*/ 0 h 2128731"/>
              <a:gd name="connsiteX1" fmla="*/ 12191999 w 12191999"/>
              <a:gd name="connsiteY1" fmla="*/ 0 h 2128731"/>
              <a:gd name="connsiteX2" fmla="*/ 9636547 w 12191999"/>
              <a:gd name="connsiteY2" fmla="*/ 2123864 h 2128731"/>
              <a:gd name="connsiteX3" fmla="*/ 0 w 12191999"/>
              <a:gd name="connsiteY3" fmla="*/ 2128731 h 2128731"/>
              <a:gd name="connsiteX4" fmla="*/ 0 w 12191999"/>
              <a:gd name="connsiteY4" fmla="*/ 0 h 2128731"/>
              <a:gd name="connsiteX5" fmla="*/ 0 w 12191999"/>
              <a:gd name="connsiteY5" fmla="*/ 0 h 2128731"/>
              <a:gd name="connsiteX0" fmla="*/ 0 w 12191999"/>
              <a:gd name="connsiteY0" fmla="*/ 0 h 2128731"/>
              <a:gd name="connsiteX1" fmla="*/ 12191999 w 12191999"/>
              <a:gd name="connsiteY1" fmla="*/ 0 h 2128731"/>
              <a:gd name="connsiteX2" fmla="*/ 9636547 w 12191999"/>
              <a:gd name="connsiteY2" fmla="*/ 2123864 h 2128731"/>
              <a:gd name="connsiteX3" fmla="*/ 0 w 12191999"/>
              <a:gd name="connsiteY3" fmla="*/ 2128731 h 2128731"/>
              <a:gd name="connsiteX4" fmla="*/ 0 w 12191999"/>
              <a:gd name="connsiteY4" fmla="*/ 0 h 2128731"/>
              <a:gd name="connsiteX5" fmla="*/ 0 w 12191999"/>
              <a:gd name="connsiteY5" fmla="*/ 0 h 2128731"/>
              <a:gd name="connsiteX0" fmla="*/ 0 w 12191999"/>
              <a:gd name="connsiteY0" fmla="*/ 0 h 2128731"/>
              <a:gd name="connsiteX1" fmla="*/ 12191999 w 12191999"/>
              <a:gd name="connsiteY1" fmla="*/ 0 h 2128731"/>
              <a:gd name="connsiteX2" fmla="*/ 9636547 w 12191999"/>
              <a:gd name="connsiteY2" fmla="*/ 2123864 h 2128731"/>
              <a:gd name="connsiteX3" fmla="*/ 0 w 12191999"/>
              <a:gd name="connsiteY3" fmla="*/ 2128731 h 2128731"/>
              <a:gd name="connsiteX4" fmla="*/ 0 w 12191999"/>
              <a:gd name="connsiteY4" fmla="*/ 0 h 2128731"/>
              <a:gd name="connsiteX5" fmla="*/ 0 w 12191999"/>
              <a:gd name="connsiteY5" fmla="*/ 0 h 2128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1999" h="2128731">
                <a:moveTo>
                  <a:pt x="0" y="0"/>
                </a:moveTo>
                <a:lnTo>
                  <a:pt x="12191999" y="0"/>
                </a:lnTo>
                <a:cubicBezTo>
                  <a:pt x="12045490" y="887377"/>
                  <a:pt x="11262958" y="2196607"/>
                  <a:pt x="9636547" y="2123864"/>
                </a:cubicBezTo>
                <a:lnTo>
                  <a:pt x="0" y="212873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/>
          <a:lstStyle>
            <a:lvl1pPr marL="914400">
              <a:lnSpc>
                <a:spcPct val="100000"/>
              </a:lnSpc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Picture Placeholder 36">
            <a:extLst>
              <a:ext uri="{FF2B5EF4-FFF2-40B4-BE49-F238E27FC236}">
                <a16:creationId xmlns:a16="http://schemas.microsoft.com/office/drawing/2014/main" id="{22F784D1-8CE5-4710-ADC3-2F70D5766F7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63600" y="2185416"/>
            <a:ext cx="2286000" cy="1746504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0">
            <a:extLst>
              <a:ext uri="{FF2B5EF4-FFF2-40B4-BE49-F238E27FC236}">
                <a16:creationId xmlns:a16="http://schemas.microsoft.com/office/drawing/2014/main" id="{1F2D6BF5-159D-4F01-BDEB-0FBD75D3F4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298" y="3970230"/>
            <a:ext cx="2286000" cy="877824"/>
          </a:xfrm>
        </p:spPr>
        <p:txBody>
          <a:bodyPr anchor="b" anchorCtr="0"/>
          <a:lstStyle>
            <a:lvl1pPr>
              <a:buNone/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18C033F-CC28-477A-8A72-AD0398D3680F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64181" y="4948171"/>
            <a:ext cx="2286000" cy="741904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Picture Placeholder 36">
            <a:extLst>
              <a:ext uri="{FF2B5EF4-FFF2-40B4-BE49-F238E27FC236}">
                <a16:creationId xmlns:a16="http://schemas.microsoft.com/office/drawing/2014/main" id="{599604B7-B0E5-4112-9123-341EB9C6267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93592" y="2185416"/>
            <a:ext cx="2286000" cy="1746504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0">
            <a:extLst>
              <a:ext uri="{FF2B5EF4-FFF2-40B4-BE49-F238E27FC236}">
                <a16:creationId xmlns:a16="http://schemas.microsoft.com/office/drawing/2014/main" id="{B4836FAA-F9D8-465B-8985-A5A10F5F2E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3592" y="3971853"/>
            <a:ext cx="2286000" cy="877824"/>
          </a:xfrm>
        </p:spPr>
        <p:txBody>
          <a:bodyPr anchor="b" anchorCtr="0"/>
          <a:lstStyle>
            <a:lvl1pPr>
              <a:buNone/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83A2A0BF-0F76-4FDC-97BF-55EBAD5FFFE7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593592" y="4948171"/>
            <a:ext cx="2286000" cy="741904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7" name="Picture Placeholder 36">
            <a:extLst>
              <a:ext uri="{FF2B5EF4-FFF2-40B4-BE49-F238E27FC236}">
                <a16:creationId xmlns:a16="http://schemas.microsoft.com/office/drawing/2014/main" id="{811A58E2-70B8-4F18-AF4A-136F58682C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309360" y="2185416"/>
            <a:ext cx="2286000" cy="1746504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0">
            <a:extLst>
              <a:ext uri="{FF2B5EF4-FFF2-40B4-BE49-F238E27FC236}">
                <a16:creationId xmlns:a16="http://schemas.microsoft.com/office/drawing/2014/main" id="{51A90A66-376F-4665-B6E9-475C686D79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09360" y="3971853"/>
            <a:ext cx="2286000" cy="877824"/>
          </a:xfrm>
        </p:spPr>
        <p:txBody>
          <a:bodyPr anchor="b" anchorCtr="0"/>
          <a:lstStyle>
            <a:lvl1pPr>
              <a:buNone/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FD8E69F-7035-465B-98F7-47AAF27D3AD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09360" y="4949098"/>
            <a:ext cx="2286000" cy="741904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8" name="Picture Placeholder 36">
            <a:extLst>
              <a:ext uri="{FF2B5EF4-FFF2-40B4-BE49-F238E27FC236}">
                <a16:creationId xmlns:a16="http://schemas.microsoft.com/office/drawing/2014/main" id="{D390D85C-0A55-413E-9301-4F451686AB8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015984" y="2185416"/>
            <a:ext cx="2286000" cy="1746504"/>
          </a:xfrm>
          <a:solidFill>
            <a:schemeClr val="accent6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0">
            <a:extLst>
              <a:ext uri="{FF2B5EF4-FFF2-40B4-BE49-F238E27FC236}">
                <a16:creationId xmlns:a16="http://schemas.microsoft.com/office/drawing/2014/main" id="{4C70777F-7849-4350-9858-AB46DD43F28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5984" y="3976192"/>
            <a:ext cx="2286000" cy="877824"/>
          </a:xfrm>
        </p:spPr>
        <p:txBody>
          <a:bodyPr anchor="b" anchorCtr="0"/>
          <a:lstStyle>
            <a:lvl1pPr>
              <a:buNone/>
              <a:defRPr sz="2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8918885-EB29-485A-A99A-D589B7ABAD71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9015984" y="4945456"/>
            <a:ext cx="2286000" cy="741904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53C5C-8415-4BF0-810D-A4C22F695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2485D4-41D3-4182-8DFE-2E0713EC0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EBFEA-4321-48C4-9CA1-43517540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51757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ntent 2 column (comparison sl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C51886-4F39-4E3E-948D-DBC73F267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4805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2C7B2A-B6BE-46FD-9278-A5246BF7EE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E85295-E4B5-4D75-954F-B07A2F4CAB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5623"/>
            <a:ext cx="5157787" cy="3554039"/>
          </a:xfrm>
        </p:spPr>
        <p:txBody>
          <a:bodyPr>
            <a:noAutofit/>
          </a:bodyPr>
          <a:lstStyle>
            <a:lvl1pPr marL="283464" indent="-283464">
              <a:defRPr sz="2000"/>
            </a:lvl1pPr>
            <a:lvl2pPr marL="283464" indent="-283464">
              <a:defRPr sz="1800"/>
            </a:lvl2pPr>
            <a:lvl3pPr marL="283464" indent="-283464">
              <a:defRPr sz="1600"/>
            </a:lvl3pPr>
            <a:lvl4pPr marL="283464" indent="-283464">
              <a:defRPr sz="1400"/>
            </a:lvl4pPr>
            <a:lvl5pPr marL="283464" indent="-283464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87ABF0-C78D-4589-8FA5-0D6238B4B0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6A4064-2E0A-4FC3-837B-14EC0EF3A6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635623"/>
            <a:ext cx="5183188" cy="3554040"/>
          </a:xfrm>
        </p:spPr>
        <p:txBody>
          <a:bodyPr>
            <a:noAutofit/>
          </a:bodyPr>
          <a:lstStyle>
            <a:lvl1pPr marL="283464" indent="-283464">
              <a:defRPr sz="2000"/>
            </a:lvl1pPr>
            <a:lvl2pPr marL="283464" indent="-283464">
              <a:defRPr sz="1800"/>
            </a:lvl2pPr>
            <a:lvl3pPr marL="283464" indent="-283464">
              <a:defRPr sz="1600"/>
            </a:lvl3pPr>
            <a:lvl4pPr marL="283464" indent="-283464">
              <a:defRPr sz="1400"/>
            </a:lvl4pPr>
            <a:lvl5pPr marL="283464" indent="-283464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4EC709-AAD9-475C-AC6A-943A8E872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E3C169-8D29-4CC4-9581-748178F3C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0C0E3E-587D-46EB-AAF5-011C137B0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9065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C51886-4F39-4E3E-948D-DBC73F267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805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2C7B2A-B6BE-46FD-9278-A5246BF7EE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3200400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E85295-E4B5-4D75-954F-B07A2F4CAB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5623"/>
            <a:ext cx="3200400" cy="3554039"/>
          </a:xfrm>
        </p:spPr>
        <p:txBody>
          <a:bodyPr>
            <a:normAutofit/>
          </a:bodyPr>
          <a:lstStyle>
            <a:lvl1pPr marL="283464" indent="-283464">
              <a:defRPr sz="1400"/>
            </a:lvl1pPr>
            <a:lvl2pPr marL="283464" indent="-283464">
              <a:defRPr sz="1400"/>
            </a:lvl2pPr>
            <a:lvl3pPr marL="283464" indent="-283464">
              <a:defRPr sz="1400"/>
            </a:lvl3pPr>
            <a:lvl4pPr marL="283464" indent="-283464">
              <a:defRPr sz="1400"/>
            </a:lvl4pPr>
            <a:lvl5pPr marL="283464" indent="-283464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87ABF0-C78D-4589-8FA5-0D6238B4B0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96597" y="1679012"/>
            <a:ext cx="3200400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6A4064-2E0A-4FC3-837B-14EC0EF3A6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96597" y="2633472"/>
            <a:ext cx="3200400" cy="3554040"/>
          </a:xfrm>
        </p:spPr>
        <p:txBody>
          <a:bodyPr>
            <a:normAutofit/>
          </a:bodyPr>
          <a:lstStyle>
            <a:lvl1pPr marL="283464" indent="-283464">
              <a:defRPr sz="1400"/>
            </a:lvl1pPr>
            <a:lvl2pPr marL="283464" indent="-283464">
              <a:defRPr sz="1400"/>
            </a:lvl2pPr>
            <a:lvl3pPr marL="283464" indent="-283464">
              <a:defRPr sz="1400"/>
            </a:lvl3pPr>
            <a:lvl4pPr marL="283464" indent="-283464">
              <a:defRPr sz="1400"/>
            </a:lvl4pPr>
            <a:lvl5pPr marL="283464" indent="-283464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55FA165-37DF-4E15-9395-3DD34C0F1C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53406" y="1682496"/>
            <a:ext cx="3200400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CAFAE5B4-E9C2-4CEE-AE3C-EAD0E422778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53406" y="2633472"/>
            <a:ext cx="3200400" cy="3554040"/>
          </a:xfrm>
        </p:spPr>
        <p:txBody>
          <a:bodyPr>
            <a:normAutofit/>
          </a:bodyPr>
          <a:lstStyle>
            <a:lvl1pPr marL="283464" indent="-283464">
              <a:defRPr sz="1400"/>
            </a:lvl1pPr>
            <a:lvl2pPr marL="283464" indent="-283464">
              <a:defRPr sz="1400"/>
            </a:lvl2pPr>
            <a:lvl3pPr marL="283464" indent="-283464">
              <a:defRPr sz="1400"/>
            </a:lvl3pPr>
            <a:lvl4pPr marL="283464" indent="-283464">
              <a:defRPr sz="1400"/>
            </a:lvl4pPr>
            <a:lvl5pPr marL="283464" indent="-283464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4EC709-AAD9-475C-AC6A-943A8E872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E3C169-8D29-4CC4-9581-748178F3C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0C0E3E-587D-46EB-AAF5-011C137B0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57227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8F77B68-7FA5-4C67-BB5E-544A66A74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59E3D4-4913-4324-9732-B962CCA5D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443553"/>
            <a:ext cx="9914859" cy="1325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FE71C6AE-BA35-4C02-9C7B-2A2D9775DF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2709080"/>
            <a:ext cx="5868537" cy="3467881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2F8E2564-CCE3-4E5F-BA7A-BE1CD195CC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844851" y="1"/>
            <a:ext cx="2347150" cy="4454343"/>
          </a:xfrm>
          <a:custGeom>
            <a:avLst/>
            <a:gdLst>
              <a:gd name="connsiteX0" fmla="*/ 2329738 w 2347151"/>
              <a:gd name="connsiteY0" fmla="*/ 0 h 4454343"/>
              <a:gd name="connsiteX1" fmla="*/ 2347151 w 2347151"/>
              <a:gd name="connsiteY1" fmla="*/ 0 h 4454343"/>
              <a:gd name="connsiteX2" fmla="*/ 2347151 w 2347151"/>
              <a:gd name="connsiteY2" fmla="*/ 4454343 h 4454343"/>
              <a:gd name="connsiteX3" fmla="*/ 2340504 w 2347151"/>
              <a:gd name="connsiteY3" fmla="*/ 4322705 h 4454343"/>
              <a:gd name="connsiteX4" fmla="*/ 134816 w 2347151"/>
              <a:gd name="connsiteY4" fmla="*/ 2130974 h 4454343"/>
              <a:gd name="connsiteX5" fmla="*/ 0 w 2347151"/>
              <a:gd name="connsiteY5" fmla="*/ 2124591 h 4454343"/>
              <a:gd name="connsiteX6" fmla="*/ 134816 w 2347151"/>
              <a:gd name="connsiteY6" fmla="*/ 2118208 h 4454343"/>
              <a:gd name="connsiteX7" fmla="*/ 2309087 w 2347151"/>
              <a:gd name="connsiteY7" fmla="*/ 141037 h 4454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7151" h="4454343">
                <a:moveTo>
                  <a:pt x="2329738" y="0"/>
                </a:moveTo>
                <a:lnTo>
                  <a:pt x="2347151" y="0"/>
                </a:lnTo>
                <a:lnTo>
                  <a:pt x="2347151" y="4454343"/>
                </a:lnTo>
                <a:lnTo>
                  <a:pt x="2340504" y="4322705"/>
                </a:lnTo>
                <a:cubicBezTo>
                  <a:pt x="2222700" y="3162715"/>
                  <a:pt x="1296917" y="2241584"/>
                  <a:pt x="134816" y="2130974"/>
                </a:cubicBezTo>
                <a:lnTo>
                  <a:pt x="0" y="2124591"/>
                </a:lnTo>
                <a:lnTo>
                  <a:pt x="134816" y="2118208"/>
                </a:lnTo>
                <a:cubicBezTo>
                  <a:pt x="1224286" y="2014511"/>
                  <a:pt x="2106054" y="1198443"/>
                  <a:pt x="2309087" y="141037"/>
                </a:cubicBez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70E4796D-B53A-4567-BE9E-482FEC3EDB2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26184" y="2126134"/>
            <a:ext cx="2434622" cy="2503056"/>
          </a:xfrm>
          <a:custGeom>
            <a:avLst/>
            <a:gdLst>
              <a:gd name="connsiteX0" fmla="*/ 0 w 2434622"/>
              <a:gd name="connsiteY0" fmla="*/ 0 h 2381427"/>
              <a:gd name="connsiteX1" fmla="*/ 2434622 w 2434622"/>
              <a:gd name="connsiteY1" fmla="*/ 0 h 2381427"/>
              <a:gd name="connsiteX2" fmla="*/ 2434622 w 2434622"/>
              <a:gd name="connsiteY2" fmla="*/ 2381427 h 2381427"/>
              <a:gd name="connsiteX3" fmla="*/ 0 w 2434622"/>
              <a:gd name="connsiteY3" fmla="*/ 2381427 h 238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4622" h="2381427">
                <a:moveTo>
                  <a:pt x="0" y="0"/>
                </a:moveTo>
                <a:lnTo>
                  <a:pt x="2434622" y="0"/>
                </a:lnTo>
                <a:lnTo>
                  <a:pt x="2434622" y="2381427"/>
                </a:lnTo>
                <a:lnTo>
                  <a:pt x="0" y="2381427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1FD357AB-C536-40A5-BB4E-AD59A1D930C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759092" y="2118839"/>
            <a:ext cx="2432908" cy="2498880"/>
          </a:xfrm>
          <a:custGeom>
            <a:avLst/>
            <a:gdLst>
              <a:gd name="connsiteX0" fmla="*/ 0 w 2425326"/>
              <a:gd name="connsiteY0" fmla="*/ 0 h 2381426"/>
              <a:gd name="connsiteX1" fmla="*/ 254330 w 2425326"/>
              <a:gd name="connsiteY1" fmla="*/ 0 h 2381426"/>
              <a:gd name="connsiteX2" fmla="*/ 433844 w 2425326"/>
              <a:gd name="connsiteY2" fmla="*/ 25132 h 2381426"/>
              <a:gd name="connsiteX3" fmla="*/ 2424547 w 2425326"/>
              <a:gd name="connsiteY3" fmla="*/ 2186765 h 2381426"/>
              <a:gd name="connsiteX4" fmla="*/ 2425326 w 2425326"/>
              <a:gd name="connsiteY4" fmla="*/ 2202193 h 2381426"/>
              <a:gd name="connsiteX5" fmla="*/ 2425326 w 2425326"/>
              <a:gd name="connsiteY5" fmla="*/ 2381426 h 2381426"/>
              <a:gd name="connsiteX6" fmla="*/ 0 w 2425326"/>
              <a:gd name="connsiteY6" fmla="*/ 2381426 h 2381426"/>
              <a:gd name="connsiteX0" fmla="*/ 0 w 2701627"/>
              <a:gd name="connsiteY0" fmla="*/ 0 h 2419519"/>
              <a:gd name="connsiteX1" fmla="*/ 254330 w 2701627"/>
              <a:gd name="connsiteY1" fmla="*/ 0 h 2419519"/>
              <a:gd name="connsiteX2" fmla="*/ 433844 w 2701627"/>
              <a:gd name="connsiteY2" fmla="*/ 25132 h 2419519"/>
              <a:gd name="connsiteX3" fmla="*/ 2424547 w 2701627"/>
              <a:gd name="connsiteY3" fmla="*/ 2186765 h 2419519"/>
              <a:gd name="connsiteX4" fmla="*/ 2425326 w 2701627"/>
              <a:gd name="connsiteY4" fmla="*/ 2381426 h 2419519"/>
              <a:gd name="connsiteX5" fmla="*/ 0 w 2701627"/>
              <a:gd name="connsiteY5" fmla="*/ 2381426 h 2419519"/>
              <a:gd name="connsiteX6" fmla="*/ 0 w 2701627"/>
              <a:gd name="connsiteY6" fmla="*/ 0 h 2419519"/>
              <a:gd name="connsiteX0" fmla="*/ 0 w 2427563"/>
              <a:gd name="connsiteY0" fmla="*/ 0 h 2381426"/>
              <a:gd name="connsiteX1" fmla="*/ 254330 w 2427563"/>
              <a:gd name="connsiteY1" fmla="*/ 0 h 2381426"/>
              <a:gd name="connsiteX2" fmla="*/ 433844 w 2427563"/>
              <a:gd name="connsiteY2" fmla="*/ 25132 h 2381426"/>
              <a:gd name="connsiteX3" fmla="*/ 2425326 w 2427563"/>
              <a:gd name="connsiteY3" fmla="*/ 2381426 h 2381426"/>
              <a:gd name="connsiteX4" fmla="*/ 0 w 2427563"/>
              <a:gd name="connsiteY4" fmla="*/ 2381426 h 2381426"/>
              <a:gd name="connsiteX5" fmla="*/ 0 w 2427563"/>
              <a:gd name="connsiteY5" fmla="*/ 0 h 2381426"/>
              <a:gd name="connsiteX0" fmla="*/ 0 w 2425384"/>
              <a:gd name="connsiteY0" fmla="*/ 0 h 2381426"/>
              <a:gd name="connsiteX1" fmla="*/ 254330 w 2425384"/>
              <a:gd name="connsiteY1" fmla="*/ 0 h 2381426"/>
              <a:gd name="connsiteX2" fmla="*/ 433844 w 2425384"/>
              <a:gd name="connsiteY2" fmla="*/ 25132 h 2381426"/>
              <a:gd name="connsiteX3" fmla="*/ 2425326 w 2425384"/>
              <a:gd name="connsiteY3" fmla="*/ 2381426 h 2381426"/>
              <a:gd name="connsiteX4" fmla="*/ 0 w 2425384"/>
              <a:gd name="connsiteY4" fmla="*/ 2381426 h 2381426"/>
              <a:gd name="connsiteX5" fmla="*/ 0 w 2425384"/>
              <a:gd name="connsiteY5" fmla="*/ 0 h 2381426"/>
              <a:gd name="connsiteX0" fmla="*/ 0 w 2425326"/>
              <a:gd name="connsiteY0" fmla="*/ 0 h 2381426"/>
              <a:gd name="connsiteX1" fmla="*/ 254330 w 2425326"/>
              <a:gd name="connsiteY1" fmla="*/ 0 h 2381426"/>
              <a:gd name="connsiteX2" fmla="*/ 2425326 w 2425326"/>
              <a:gd name="connsiteY2" fmla="*/ 2381426 h 2381426"/>
              <a:gd name="connsiteX3" fmla="*/ 0 w 2425326"/>
              <a:gd name="connsiteY3" fmla="*/ 2381426 h 2381426"/>
              <a:gd name="connsiteX4" fmla="*/ 0 w 2425326"/>
              <a:gd name="connsiteY4" fmla="*/ 0 h 2381426"/>
              <a:gd name="connsiteX0" fmla="*/ 0 w 2425326"/>
              <a:gd name="connsiteY0" fmla="*/ 0 h 2381426"/>
              <a:gd name="connsiteX1" fmla="*/ 2425326 w 2425326"/>
              <a:gd name="connsiteY1" fmla="*/ 2381426 h 2381426"/>
              <a:gd name="connsiteX2" fmla="*/ 0 w 2425326"/>
              <a:gd name="connsiteY2" fmla="*/ 2381426 h 2381426"/>
              <a:gd name="connsiteX3" fmla="*/ 0 w 2425326"/>
              <a:gd name="connsiteY3" fmla="*/ 0 h 2381426"/>
              <a:gd name="connsiteX0" fmla="*/ 0 w 2425326"/>
              <a:gd name="connsiteY0" fmla="*/ 0 h 2381426"/>
              <a:gd name="connsiteX1" fmla="*/ 2425326 w 2425326"/>
              <a:gd name="connsiteY1" fmla="*/ 2381426 h 2381426"/>
              <a:gd name="connsiteX2" fmla="*/ 0 w 2425326"/>
              <a:gd name="connsiteY2" fmla="*/ 2381426 h 2381426"/>
              <a:gd name="connsiteX3" fmla="*/ 0 w 2425326"/>
              <a:gd name="connsiteY3" fmla="*/ 0 h 2381426"/>
              <a:gd name="connsiteX0" fmla="*/ 0 w 2425326"/>
              <a:gd name="connsiteY0" fmla="*/ 0 h 2381426"/>
              <a:gd name="connsiteX1" fmla="*/ 2425326 w 2425326"/>
              <a:gd name="connsiteY1" fmla="*/ 2381426 h 2381426"/>
              <a:gd name="connsiteX2" fmla="*/ 0 w 2425326"/>
              <a:gd name="connsiteY2" fmla="*/ 2381426 h 2381426"/>
              <a:gd name="connsiteX3" fmla="*/ 0 w 2425326"/>
              <a:gd name="connsiteY3" fmla="*/ 0 h 2381426"/>
              <a:gd name="connsiteX0" fmla="*/ 0 w 2425326"/>
              <a:gd name="connsiteY0" fmla="*/ 0 h 2381426"/>
              <a:gd name="connsiteX1" fmla="*/ 2425326 w 2425326"/>
              <a:gd name="connsiteY1" fmla="*/ 2381426 h 2381426"/>
              <a:gd name="connsiteX2" fmla="*/ 0 w 2425326"/>
              <a:gd name="connsiteY2" fmla="*/ 2381426 h 2381426"/>
              <a:gd name="connsiteX3" fmla="*/ 0 w 2425326"/>
              <a:gd name="connsiteY3" fmla="*/ 0 h 2381426"/>
              <a:gd name="connsiteX0" fmla="*/ 0 w 2425326"/>
              <a:gd name="connsiteY0" fmla="*/ 14 h 2381440"/>
              <a:gd name="connsiteX1" fmla="*/ 2425326 w 2425326"/>
              <a:gd name="connsiteY1" fmla="*/ 2381440 h 2381440"/>
              <a:gd name="connsiteX2" fmla="*/ 0 w 2425326"/>
              <a:gd name="connsiteY2" fmla="*/ 2381440 h 2381440"/>
              <a:gd name="connsiteX3" fmla="*/ 0 w 2425326"/>
              <a:gd name="connsiteY3" fmla="*/ 14 h 2381440"/>
              <a:gd name="connsiteX0" fmla="*/ 0 w 2427169"/>
              <a:gd name="connsiteY0" fmla="*/ 14 h 2381440"/>
              <a:gd name="connsiteX1" fmla="*/ 2425326 w 2427169"/>
              <a:gd name="connsiteY1" fmla="*/ 2381440 h 2381440"/>
              <a:gd name="connsiteX2" fmla="*/ 0 w 2427169"/>
              <a:gd name="connsiteY2" fmla="*/ 2381440 h 2381440"/>
              <a:gd name="connsiteX3" fmla="*/ 0 w 2427169"/>
              <a:gd name="connsiteY3" fmla="*/ 14 h 238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27169" h="2381440">
                <a:moveTo>
                  <a:pt x="0" y="14"/>
                </a:moveTo>
                <a:cubicBezTo>
                  <a:pt x="1692362" y="-4985"/>
                  <a:pt x="2470324" y="1326204"/>
                  <a:pt x="2425326" y="2381440"/>
                </a:cubicBezTo>
                <a:lnTo>
                  <a:pt x="0" y="2381440"/>
                </a:lnTo>
                <a:lnTo>
                  <a:pt x="0" y="1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53C5C-8415-4BF0-810D-A4C22F695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EF54B49C-CC16-4438-9923-F41C8E75273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324344" y="4503573"/>
            <a:ext cx="2434622" cy="2354427"/>
          </a:xfrm>
          <a:custGeom>
            <a:avLst/>
            <a:gdLst>
              <a:gd name="connsiteX0" fmla="*/ 0 w 2434622"/>
              <a:gd name="connsiteY0" fmla="*/ 0 h 2381427"/>
              <a:gd name="connsiteX1" fmla="*/ 2434622 w 2434622"/>
              <a:gd name="connsiteY1" fmla="*/ 0 h 2381427"/>
              <a:gd name="connsiteX2" fmla="*/ 2434622 w 2434622"/>
              <a:gd name="connsiteY2" fmla="*/ 2381427 h 2381427"/>
              <a:gd name="connsiteX3" fmla="*/ 0 w 2434622"/>
              <a:gd name="connsiteY3" fmla="*/ 2381427 h 2381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4622" h="2381427">
                <a:moveTo>
                  <a:pt x="0" y="0"/>
                </a:moveTo>
                <a:lnTo>
                  <a:pt x="2434622" y="0"/>
                </a:lnTo>
                <a:lnTo>
                  <a:pt x="2434622" y="2381427"/>
                </a:lnTo>
                <a:lnTo>
                  <a:pt x="0" y="2381427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BC1AB157-27FC-4B7D-9CCA-71C57045CEE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58966" y="4507560"/>
            <a:ext cx="2434622" cy="2350439"/>
          </a:xfrm>
          <a:custGeom>
            <a:avLst/>
            <a:gdLst>
              <a:gd name="connsiteX0" fmla="*/ 0 w 2434622"/>
              <a:gd name="connsiteY0" fmla="*/ 0 h 2342635"/>
              <a:gd name="connsiteX1" fmla="*/ 2434622 w 2434622"/>
              <a:gd name="connsiteY1" fmla="*/ 0 h 2342635"/>
              <a:gd name="connsiteX2" fmla="*/ 2434622 w 2434622"/>
              <a:gd name="connsiteY2" fmla="*/ 2342635 h 2342635"/>
              <a:gd name="connsiteX3" fmla="*/ 0 w 2434622"/>
              <a:gd name="connsiteY3" fmla="*/ 2342635 h 2342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4622" h="2342635">
                <a:moveTo>
                  <a:pt x="0" y="0"/>
                </a:moveTo>
                <a:lnTo>
                  <a:pt x="2434622" y="0"/>
                </a:lnTo>
                <a:lnTo>
                  <a:pt x="2434622" y="2342635"/>
                </a:lnTo>
                <a:lnTo>
                  <a:pt x="0" y="2342635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2485D4-41D3-4182-8DFE-2E0713EC0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EBFEA-4321-48C4-9CA1-43517540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98011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los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0BAB19D3-90A9-40E5-BED8-289A8919A7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AD247D9-20CF-4BAD-906D-66DB8B8527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3479" y="596393"/>
            <a:ext cx="5618922" cy="154250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Click to edit Master title styl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0E4B7A8-67F1-4290-B537-DE49AD9FBFF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5181600" cy="6857999"/>
          </a:xfrm>
          <a:custGeom>
            <a:avLst/>
            <a:gdLst>
              <a:gd name="connsiteX0" fmla="*/ 0 w 5181600"/>
              <a:gd name="connsiteY0" fmla="*/ 0 h 6857999"/>
              <a:gd name="connsiteX1" fmla="*/ 5181600 w 5181600"/>
              <a:gd name="connsiteY1" fmla="*/ 0 h 6857999"/>
              <a:gd name="connsiteX2" fmla="*/ 5181600 w 5181600"/>
              <a:gd name="connsiteY2" fmla="*/ 4504871 h 6857999"/>
              <a:gd name="connsiteX3" fmla="*/ 5181598 w 5181600"/>
              <a:gd name="connsiteY3" fmla="*/ 4504830 h 6857999"/>
              <a:gd name="connsiteX4" fmla="*/ 5175215 w 5181600"/>
              <a:gd name="connsiteY4" fmla="*/ 4639646 h 6857999"/>
              <a:gd name="connsiteX5" fmla="*/ 2983485 w 5181600"/>
              <a:gd name="connsiteY5" fmla="*/ 6845334 h 6857999"/>
              <a:gd name="connsiteX6" fmla="*/ 2749639 w 5181600"/>
              <a:gd name="connsiteY6" fmla="*/ 6857142 h 6857999"/>
              <a:gd name="connsiteX7" fmla="*/ 2749639 w 5181600"/>
              <a:gd name="connsiteY7" fmla="*/ 6857999 h 6857999"/>
              <a:gd name="connsiteX8" fmla="*/ 0 w 5181600"/>
              <a:gd name="connsiteY8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81600" h="6857999">
                <a:moveTo>
                  <a:pt x="0" y="0"/>
                </a:moveTo>
                <a:lnTo>
                  <a:pt x="5181600" y="0"/>
                </a:lnTo>
                <a:lnTo>
                  <a:pt x="5181600" y="4504871"/>
                </a:lnTo>
                <a:lnTo>
                  <a:pt x="5181598" y="4504830"/>
                </a:lnTo>
                <a:lnTo>
                  <a:pt x="5175215" y="4639646"/>
                </a:lnTo>
                <a:cubicBezTo>
                  <a:pt x="5064605" y="5801747"/>
                  <a:pt x="4143475" y="6727530"/>
                  <a:pt x="2983485" y="6845334"/>
                </a:cubicBezTo>
                <a:lnTo>
                  <a:pt x="2749639" y="6857142"/>
                </a:lnTo>
                <a:lnTo>
                  <a:pt x="2749639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5EAFE93-40B7-4FF8-BEE7-E39911ECD8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63478" y="2138901"/>
            <a:ext cx="5618922" cy="4033299"/>
          </a:xfrm>
        </p:spPr>
        <p:txBody>
          <a:bodyPr>
            <a:normAutofit/>
          </a:bodyPr>
          <a:lstStyle>
            <a:lvl1pPr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>
                <a:solidFill>
                  <a:srgbClr val="FFFFFF"/>
                </a:solidFill>
              </a:rPr>
              <a:t>Click to edit Master text styles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752B41F-4B4E-4E1F-9191-6BB3F421ED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4005014" y="3249456"/>
            <a:ext cx="2353172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E3EFD1DB-7478-445F-ACEF-64BE4DFEC8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4005012" y="3249456"/>
            <a:ext cx="2353172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53C5C-8415-4BF0-810D-A4C22F695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2485D4-41D3-4182-8DFE-2E0713EC0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EBFEA-4321-48C4-9CA1-43517540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897673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2485D4-41D3-4182-8DFE-2E0713EC0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53C5C-8415-4BF0-810D-A4C22F695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EBFEA-4321-48C4-9CA1-43517540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D13D15-77CA-4B50-9E08-0F58009A8E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67635" y="4626592"/>
            <a:ext cx="8600365" cy="1224926"/>
          </a:xfrm>
        </p:spPr>
        <p:txBody>
          <a:bodyPr anchor="b">
            <a:noAutofit/>
          </a:bodyPr>
          <a:lstStyle/>
          <a:p>
            <a:r>
              <a:rPr lang="en-US" sz="4400">
                <a:solidFill>
                  <a:srgbClr val="FFFFFF"/>
                </a:solidFill>
              </a:rPr>
              <a:t>Click to edit Master title style</a:t>
            </a:r>
            <a:endParaRPr lang="en-US" sz="4400" dirty="0">
              <a:solidFill>
                <a:srgbClr val="FFFFFF"/>
              </a:solidFill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BB8E73D-B3E6-4E0A-8295-A9EB157228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67636" y="5936776"/>
            <a:ext cx="6660107" cy="625497"/>
          </a:xfrm>
        </p:spPr>
        <p:txBody>
          <a:bodyPr>
            <a:normAutofit/>
          </a:bodyPr>
          <a:lstStyle/>
          <a:p>
            <a:r>
              <a:rPr lang="en-US" sz="1400">
                <a:solidFill>
                  <a:srgbClr val="FFFFFF"/>
                </a:solidFill>
              </a:rPr>
              <a:t>Click to edit Master subtitle style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07706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DD9960-406F-4187-A0E6-BD19C68403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9326" y="919716"/>
            <a:ext cx="8504275" cy="3551275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27E7FE-647D-4B2F-BA13-AB3ED4C5CF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49326" y="4795284"/>
            <a:ext cx="8504275" cy="1084522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buNone/>
              <a:defRPr sz="1600" b="1" cap="all" spc="3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5EF785-E0A7-4496-A5BA-49B0156F26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64706" y="6433202"/>
            <a:ext cx="2426446" cy="36784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42C627-38A1-4A14-8822-D8D33751C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BE346-5F34-48CD-8928-DA8567AED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3203"/>
            <a:ext cx="702781" cy="367842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658430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8A94B-011C-4B13-8C12-E91BF7A40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320800"/>
            <a:ext cx="9144000" cy="3095813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16D5F3-887C-4A8F-842A-0294A9FB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23999" y="4589463"/>
            <a:ext cx="9144001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94588B-131A-42F3-B76C-62BD65E48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11AB28-20BD-4CD8-9840-985C3EDBA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53C85C-3801-46F0-A100-616F5F2F8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59623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5CB06-0454-4BF1-8011-F8B1A9595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920A70-D33B-4461-B74C-3F59ADB161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08813" y="2163725"/>
            <a:ext cx="4610986" cy="40132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81BDF9-836E-431C-8EFA-417A9BEE9F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57260" y="2163725"/>
            <a:ext cx="4853763" cy="4013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BD9F59-B591-4E2F-899E-3CA78CE82D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6CFD12-B3EC-432C-B264-8AB571CAA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F3CBBA-71B3-4857-80E7-525E89FD90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4919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4"/>
            <a:ext cx="11036725" cy="1658869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050026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A3E062-B7F5-4D30-B416-1BBB4A7D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BDFF7A-EBD3-4FEB-8451-5D7355069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F54A2D-2C4B-4E1D-AC16-E3B1F1DDB5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1F373-DB96-4AEA-8E3E-7EDEA213D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830366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E09F8C-8071-4BE5-AD6F-C98F481D1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4135B3-14BA-4A88-B6B3-88B77B1C63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7C3A4D-5B69-44B4-B17F-770E83F008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F1C41D-2A59-4512-8034-6DB705787D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85C494-778C-4EE6-9402-242E1CDD9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5677B9-C338-4033-9AFE-B8B81C5D8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9462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AB77DE-4C2E-476F-A419-57470FB66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9FD1A0-93AE-469A-ADDF-2453B64CAA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119C9C-EF97-4910-9419-6D7202609E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A87172-A64E-4C38-82ED-2A7050B0F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0C3E24-28E2-4512-BEA0-DAEC5E846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Maldives Joint COVID-19 and HPV Vaccines PIE: December 2021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F04F0D-DA84-434D-B136-BEE9FD80A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76129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algn="ctr"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3"/>
            <a:ext cx="12191999" cy="1655999"/>
          </a:xfrm>
          <a:solidFill>
            <a:schemeClr val="tx2"/>
          </a:solidFill>
        </p:spPr>
        <p:txBody>
          <a:bodyPr lIns="468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www.who.int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999" y="5440855"/>
            <a:ext cx="11211172" cy="288000"/>
          </a:xfrm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06C424-84A1-4723-A740-1EB4FBD77F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731" y="311424"/>
            <a:ext cx="1652315" cy="9320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C91B1AE-AD59-4741-B12C-D7036D87D9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5236" y="311424"/>
            <a:ext cx="3007316" cy="94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4879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6526457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invGray">
          <a:xfrm>
            <a:off x="479999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39CDCE64-EE06-4559-BA59-FD6059702EC4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40495418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167802BA-8623-48AE-9924-9F5F6790139C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875913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035824F7-C870-482C-80C0-AFECF2DA260C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 bwMode="invGray">
          <a:xfrm>
            <a:off x="479999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 bwMode="invGray">
          <a:xfrm>
            <a:off x="6234364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 bwMode="invGray">
          <a:xfrm>
            <a:off x="479999" y="4039524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 bwMode="invGray">
          <a:xfrm>
            <a:off x="6234365" y="4039524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813889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BBB6CCEC-3D0A-48BE-9958-590F11C39C0A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 bwMode="invGray">
          <a:xfrm>
            <a:off x="4317181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 bwMode="invGray">
          <a:xfrm>
            <a:off x="4317181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 bwMode="invGray">
          <a:xfrm>
            <a:off x="8154364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 bwMode="invGray">
          <a:xfrm>
            <a:off x="8154364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78815387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414CCF51-8078-42ED-9407-7F055975162E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1015847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text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080146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B5CB8422-2CBD-43EC-AF21-8B33A2ACAA82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7573279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11226364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6C135116-9A9A-47DA-A114-676E0C1FD8BF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491130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 bwMode="inv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0CC27D-0020-48D4-9B6C-9E6EA0640D93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 bwMode="invGray"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invGray">
          <a:noFill/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 bwMode="invGray">
          <a:xfrm>
            <a:off x="479999" y="1800000"/>
            <a:ext cx="11226365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536473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2" y="1800000"/>
            <a:ext cx="4279900" cy="1649446"/>
          </a:xfrm>
          <a:solidFill>
            <a:schemeClr val="tx2">
              <a:alpha val="90000"/>
            </a:schemeClr>
          </a:solidFill>
        </p:spPr>
        <p:txBody>
          <a:bodyPr lIns="468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tabLst>
                <a:tab pos="1614488" algn="l"/>
              </a:tabLst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68D69CF-73BC-4E26-B56A-FEC2ABB77ED4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BD8C3F1-1671-48E9-A883-71329659A1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9997" y="294411"/>
            <a:ext cx="2586365" cy="81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48468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262F6C-3198-4C0D-9FD3-A522B66D4040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79999" y="359999"/>
            <a:ext cx="8160000" cy="7200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480001" y="1800002"/>
            <a:ext cx="636784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79999" y="214368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707437" y="214368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432736" y="214368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479999" y="287792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707437" y="287792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432736" y="287792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479999" y="361217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707437" y="361217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432736" y="361217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479999" y="434641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707437" y="434641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7432736" y="434641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479999" y="508066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707437" y="508066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432736" y="508066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79999" y="5814910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707437" y="5814910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432736" y="5814910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44497837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A931E1-7FC2-4DBD-9F66-3D1575A3F79C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52336585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0"/>
            <a:ext cx="12191999" cy="1656000"/>
          </a:xfrm>
          <a:solidFill>
            <a:schemeClr val="tx2">
              <a:alpha val="90000"/>
            </a:schemeClr>
          </a:solidFill>
        </p:spPr>
        <p:txBody>
          <a:bodyPr lIns="468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2F67E6-7CDA-45BB-8799-4EAFC474C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84" y="462800"/>
            <a:ext cx="3546788" cy="111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71415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b="1"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338111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7321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6" imgH="357" progId="TCLayout.ActiveDocument.1">
                  <p:embed/>
                </p:oleObj>
              </mc:Choice>
              <mc:Fallback>
                <p:oleObj name="think-cell Slide" r:id="rId3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398190" y="6547664"/>
            <a:ext cx="150682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78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60105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6" imgH="357" progId="TCLayout.ActiveDocument.1">
                  <p:embed/>
                </p:oleObj>
              </mc:Choice>
              <mc:Fallback>
                <p:oleObj name="think-cell Slide" r:id="rId3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2261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3570D610-DA38-4B7D-93BE-2E443F0EE1A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108655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| 2 column bullet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07935" indent="-207935">
              <a:buClr>
                <a:schemeClr val="accent1"/>
              </a:buClr>
              <a:buSzPct val="110000"/>
              <a:buFont typeface="Wingdings" pitchFamily="2" charset="2"/>
              <a:buChar char="§"/>
              <a:defRPr/>
            </a:lvl1pPr>
            <a:lvl2pPr>
              <a:buSzPct val="110000"/>
              <a:defRPr/>
            </a:lvl2pPr>
            <a:lvl3pPr>
              <a:buSzPct val="110000"/>
              <a:defRPr/>
            </a:lvl3pPr>
            <a:lvl4pPr>
              <a:buSzPct val="110000"/>
              <a:defRPr/>
            </a:lvl4pPr>
            <a:lvl5pPr>
              <a:buSzPct val="110000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754094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algn="ctr"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 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3"/>
            <a:ext cx="12191999" cy="1655999"/>
          </a:xfrm>
          <a:solidFill>
            <a:schemeClr val="tx2"/>
          </a:solidFill>
        </p:spPr>
        <p:txBody>
          <a:bodyPr lIns="468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www.who.int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999" y="5440855"/>
            <a:ext cx="11211172" cy="288000"/>
          </a:xfrm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 dirty="0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06C424-84A1-4723-A740-1EB4FBD77F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731" y="311424"/>
            <a:ext cx="1652315" cy="93200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C91B1AE-AD59-4741-B12C-D7036D87D9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5236" y="311424"/>
            <a:ext cx="3007316" cy="948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0537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935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invGray">
          <a:xfrm>
            <a:off x="479999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39CDCE64-EE06-4559-BA59-FD6059702EC4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25013115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167802BA-8623-48AE-9924-9F5F6790139C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30263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035824F7-C870-482C-80C0-AFECF2DA260C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 bwMode="invGray">
          <a:xfrm>
            <a:off x="479999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 bwMode="invGray">
          <a:xfrm>
            <a:off x="6234364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 bwMode="invGray">
          <a:xfrm>
            <a:off x="479999" y="4039524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 bwMode="invGray">
          <a:xfrm>
            <a:off x="6234365" y="4039524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29267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BBB6CCEC-3D0A-48BE-9958-590F11C39C0A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 bwMode="invGray">
          <a:xfrm>
            <a:off x="4317181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 bwMode="invGray">
          <a:xfrm>
            <a:off x="4317181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 bwMode="invGray">
          <a:xfrm>
            <a:off x="8154364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 bwMode="invGray">
          <a:xfrm>
            <a:off x="8154364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78141641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414CCF51-8078-42ED-9407-7F055975162E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91307413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B5CB8422-2CBD-43EC-AF21-8B33A2ACAA82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97986061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11226364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6C135116-9A9A-47DA-A114-676E0C1FD8BF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53104122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 bwMode="inv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0CC27D-0020-48D4-9B6C-9E6EA0640D93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 bwMode="invGray"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invGray">
          <a:noFill/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 bwMode="invGray">
          <a:xfrm>
            <a:off x="479999" y="1800000"/>
            <a:ext cx="11226365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856838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column numb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7"/>
            <a:ext cx="11036725" cy="1674747"/>
          </a:xfrm>
        </p:spPr>
        <p:txBody>
          <a:bodyPr numCol="2" spcCol="1440000"/>
          <a:lstStyle>
            <a:lvl1pPr marL="277246" indent="-277246">
              <a:buClr>
                <a:schemeClr val="accent1"/>
              </a:buClr>
              <a:buSzPct val="100000"/>
              <a:buFont typeface="+mj-lt"/>
              <a:buAutoNum type="arabicPeriod"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3903499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 dirty="0"/>
              <a:t>Click on Icon to add picture, then arrange object (send to back)</a:t>
            </a:r>
            <a:br>
              <a:rPr lang="en-GB" noProof="0" dirty="0"/>
            </a:br>
            <a:r>
              <a:rPr lang="en-GB" noProof="0" dirty="0"/>
              <a:t>Change picture either by</a:t>
            </a:r>
            <a:br>
              <a:rPr lang="en-GB" noProof="0" dirty="0"/>
            </a:br>
            <a:r>
              <a:rPr lang="en-GB" noProof="0" dirty="0"/>
              <a:t>right mouse click on picture + „change picture“ </a:t>
            </a:r>
            <a:br>
              <a:rPr lang="en-GB" noProof="0" dirty="0"/>
            </a:br>
            <a:r>
              <a:rPr lang="en-GB" noProof="0" dirty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2" y="1800000"/>
            <a:ext cx="4279900" cy="1649446"/>
          </a:xfrm>
          <a:solidFill>
            <a:schemeClr val="tx2">
              <a:alpha val="90000"/>
            </a:schemeClr>
          </a:solidFill>
        </p:spPr>
        <p:txBody>
          <a:bodyPr lIns="468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tabLst>
                <a:tab pos="1614488" algn="l"/>
              </a:tabLst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68D69CF-73BC-4E26-B56A-FEC2ABB77ED4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BD8C3F1-1671-48E9-A883-71329659A1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9997" y="294411"/>
            <a:ext cx="2586365" cy="816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00819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262F6C-3198-4C0D-9FD3-A522B66D4040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79999" y="359999"/>
            <a:ext cx="8160000" cy="7200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480001" y="1800002"/>
            <a:ext cx="636784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79999" y="214368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707437" y="214368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432736" y="214368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479999" y="287792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707437" y="287792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432736" y="287792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479999" y="361217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707437" y="361217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432736" y="361217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479999" y="434641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707437" y="434641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7432736" y="434641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479999" y="508066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707437" y="508066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432736" y="508066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79999" y="5814910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707437" y="5814910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432736" y="5814910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45932606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A931E1-7FC2-4DBD-9F66-3D1575A3F79C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48133212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 dirty="0"/>
              <a:t>Click to edit </a:t>
            </a:r>
            <a:br>
              <a:rPr lang="en-GB" noProof="0" dirty="0"/>
            </a:br>
            <a:r>
              <a:rPr lang="en-GB" noProof="0" dirty="0"/>
              <a:t>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0"/>
            <a:ext cx="12191999" cy="1656000"/>
          </a:xfrm>
          <a:solidFill>
            <a:schemeClr val="tx2">
              <a:alpha val="90000"/>
            </a:schemeClr>
          </a:solidFill>
        </p:spPr>
        <p:txBody>
          <a:bodyPr lIns="468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2F67E6-7CDA-45BB-8799-4EAFC474C0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4384" y="462800"/>
            <a:ext cx="3546788" cy="1119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79900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Font typeface="Raleway"/>
              <a:buNone/>
              <a:defRPr b="1"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29555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409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6" imgH="357" progId="TCLayout.ActiveDocument.1">
                  <p:embed/>
                </p:oleObj>
              </mc:Choice>
              <mc:Fallback>
                <p:oleObj name="think-cell Slide" r:id="rId3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398190" y="6547664"/>
            <a:ext cx="150682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149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7922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6" imgH="357" progId="TCLayout.ActiveDocument.1">
                  <p:embed/>
                </p:oleObj>
              </mc:Choice>
              <mc:Fallback>
                <p:oleObj name="think-cell Slide" r:id="rId3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9037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60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232603" y="389294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232603" y="2504717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232603" y="1706563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E618C277-228A-440C-8255-6AD42DEE4F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9412" y="4961255"/>
            <a:ext cx="4430713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621383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548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7984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A1961CE-39CC-478C-A1C6-073AF8EFFE2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3882730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650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795A65A-ECB4-41D2-AECE-3DFFDD1A978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65B78AD-41BF-4D8D-B0CA-88B61C58E4C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918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7A8EF9-1C32-4B7A-8081-50E936C41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820C01-EFC8-47E3-87CA-54B740EA54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7638" y="2905312"/>
            <a:ext cx="10775825" cy="1564243"/>
          </a:xfrm>
        </p:spPr>
        <p:txBody>
          <a:bodyPr/>
          <a:lstStyle>
            <a:lvl1pPr marL="0" indent="0">
              <a:spcAft>
                <a:spcPts val="728"/>
              </a:spcAft>
              <a:buFontTx/>
              <a:buNone/>
              <a:defRPr/>
            </a:lvl1pPr>
            <a:lvl2pPr>
              <a:spcAft>
                <a:spcPts val="728"/>
              </a:spcAft>
              <a:defRPr/>
            </a:lvl2pPr>
            <a:lvl3pPr>
              <a:spcAft>
                <a:spcPts val="728"/>
              </a:spcAft>
              <a:defRPr/>
            </a:lvl3pPr>
            <a:lvl4pPr>
              <a:spcAft>
                <a:spcPts val="728"/>
              </a:spcAft>
              <a:defRPr/>
            </a:lvl4pPr>
            <a:lvl5pPr>
              <a:spcAft>
                <a:spcPts val="728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1F7A7FA-3919-46C3-A721-2BCFFDD3E2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F7C05-75CA-420E-AD15-CB8A1468F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87425AA8-5E7D-4A02-BD41-3BD7CF394720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8DFAF66-6D1A-4424-9287-26CDDE2BB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663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956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1DD2402-7872-41CE-AAEE-97D58A49507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C708245-A552-4F82-A1F8-0B46ABE4F7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301704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892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C8A9B47-C2D6-4DC4-B29C-FAC1FF1CBE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A1D45B6-AA15-4E8B-84F7-2E4EF19F4FA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209742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5680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52CCDF1-1350-4EAA-9712-798FCBA9B4C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9D6BE92-4DEC-4F9C-B801-070713401B6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68433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905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8BA682D-67AF-4BF6-B15A-4C2E92FD465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accent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9E2D09F-7A64-4B40-9FC4-581BD64C8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17F312-2E8A-4D47-9ED7-403DBEE295C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859881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65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4384AA-70CC-4A36-8980-C20EE09BA3A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5CDBC406-D86A-4232-A1BC-A0C487B812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051055C4-1B6E-47DB-AD17-B27782D546F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24116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3156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4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9351DA85-660E-4005-BC31-09B1137FAB3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C606DD3-51C3-46A7-A120-0F9889B7510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EA4B8B1-950D-4BE9-B434-85CA73AE548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98031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5277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4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6EBBD40-A17E-4AC4-AFFE-B9D052D0A76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FAE829D-7032-46BB-87B6-966882B3DF7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01536E2-4B01-4839-B61A-8A966ECC9B5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89613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253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4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1F968F9-C4C2-4AB2-822B-CC6DE7FE42F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FB98F14-45AF-4ABC-91B1-04945664C0F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AE72860-ED40-4421-B2CF-9088C454396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4" y="6488394"/>
            <a:ext cx="1181966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63562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3536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2">
            <a:extLst>
              <a:ext uri="{FF2B5EF4-FFF2-40B4-BE49-F238E27FC236}">
                <a16:creationId xmlns:a16="http://schemas.microsoft.com/office/drawing/2014/main" id="{048DC7AE-6179-4351-8133-68A84862E8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12" name="Picture 17">
            <a:extLst>
              <a:ext uri="{FF2B5EF4-FFF2-40B4-BE49-F238E27FC236}">
                <a16:creationId xmlns:a16="http://schemas.microsoft.com/office/drawing/2014/main" id="{DD253AE5-E290-44AD-9CEC-ECB61DD0B0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A27D12-7E63-41D1-9643-08F6F9062D6B}"/>
              </a:ext>
            </a:extLst>
          </p:cNvPr>
          <p:cNvCxnSpPr/>
          <p:nvPr userDrawn="1"/>
        </p:nvCxnSpPr>
        <p:spPr>
          <a:xfrm>
            <a:off x="-7620" y="1234438"/>
            <a:ext cx="12206254" cy="0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406524B5-4739-4D58-93CF-EA76FB90DB7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B0B0C20-1442-4607-8B15-90F8BDB2DAB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46246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33410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2">
            <a:extLst>
              <a:ext uri="{FF2B5EF4-FFF2-40B4-BE49-F238E27FC236}">
                <a16:creationId xmlns:a16="http://schemas.microsoft.com/office/drawing/2014/main" id="{989E37D3-247E-4B73-A726-336EFE5F059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13" name="Picture 17">
            <a:extLst>
              <a:ext uri="{FF2B5EF4-FFF2-40B4-BE49-F238E27FC236}">
                <a16:creationId xmlns:a16="http://schemas.microsoft.com/office/drawing/2014/main" id="{DB4EAA56-1D2C-453A-A498-5120FB26F0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5207D841-96AD-4CCA-85BE-245C7048655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62009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Text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1"/>
            <a:ext cx="5658921" cy="6857999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2905312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 flipV="1">
            <a:off x="577638" y="6370213"/>
            <a:ext cx="5377804" cy="27725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2D490A-0282-4B98-BC22-F72D01AAD9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33079" y="5916690"/>
            <a:ext cx="5081284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 dirty="0"/>
              <a:t>Caption text goes here if required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9427362-842E-4669-885E-548EFDB4AD6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1015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368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1974B0-473E-4554-A92F-9807F1E87F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162425" y="2838450"/>
            <a:ext cx="3867150" cy="118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71361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65CFF-74EF-4709-A119-F6C84086F1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305F8D-ACDC-4D1F-A2C2-6E0DBE2405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3C7577-A74A-49A5-9436-B42DC77F0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4893E3-DF60-41A1-A76F-713DC5AE22EB}" type="datetimeFigureOut">
              <a:rPr lang="en-US" smtClean="0"/>
              <a:t>9/20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03CA11-8326-4726-BEC9-66AB9AA19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7E730-E876-418C-B1DC-62D83D9EA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D2CC3-9BB7-41AC-98F7-2967221EBA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553208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3DB4C5-36FD-47D9-A072-3103FFF11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485221-1937-4575-902F-0184280DAC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54CA90-6BFD-4F67-94C7-9500F64ED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33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Layouts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679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232603" y="389294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232603" y="2504717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232603" y="1706563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E618C277-228A-440C-8255-6AD42DEE4F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9412" y="4961255"/>
            <a:ext cx="4430713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748503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Layou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387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7984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A1961CE-39CC-478C-A1C6-073AF8EFFE2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1867691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Layou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8960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C8A9B47-C2D6-4DC4-B29C-FAC1FF1CBE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7" y="660083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A1D45B6-AA15-4E8B-84F7-2E4EF19F4FA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95374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Layout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937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2">
            <a:extLst>
              <a:ext uri="{FF2B5EF4-FFF2-40B4-BE49-F238E27FC236}">
                <a16:creationId xmlns:a16="http://schemas.microsoft.com/office/drawing/2014/main" id="{989E37D3-247E-4B73-A726-336EFE5F059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3" name="Picture 17">
            <a:extLst>
              <a:ext uri="{FF2B5EF4-FFF2-40B4-BE49-F238E27FC236}">
                <a16:creationId xmlns:a16="http://schemas.microsoft.com/office/drawing/2014/main" id="{DB4EAA56-1D2C-453A-A498-5120FB26F0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5207D841-96AD-4CCA-85BE-245C7048655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6" y="6593139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562918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60352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14199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0135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915F15C-956C-41D5-B307-E9EAF4140C9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533079" y="577597"/>
            <a:ext cx="5081284" cy="2634145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3DBC4A-ACA7-4AD0-9307-8B9B0EA507F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04322" y="644597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aption, if required, goes here</a:t>
            </a:r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E7CB72A-5628-4C6B-920B-B5462A85B7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4322" y="3509478"/>
            <a:ext cx="4938799" cy="2537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aption, if required, goes here</a:t>
            </a:r>
            <a:endParaRPr lang="en-GB" dirty="0"/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3E63EEFC-E63D-460B-87E8-056BB1E9EE2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88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13127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58214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143760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28926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0807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98130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63D28E-A044-4A27-8E65-0B05919B75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6275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63D28E-A044-4A27-8E65-0B05919B7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7253107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13535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Layouts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076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409016D-B7E7-40C3-B13E-EA55B02BD7B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2085934" y="774195"/>
            <a:ext cx="8020133" cy="3081853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1232602" y="6233090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E6D2C8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1232602" y="5723246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E6D2C8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 bwMode="auto">
          <a:xfrm>
            <a:off x="1232602" y="4505517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4400" dirty="0">
                <a:solidFill>
                  <a:srgbClr val="E6D2C8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7521115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Layou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9260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150248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Quote +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7638" y="1682566"/>
            <a:ext cx="5081284" cy="1555619"/>
          </a:xfrm>
        </p:spPr>
        <p:txBody>
          <a:bodyPr/>
          <a:lstStyle>
            <a:lvl1pPr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3079" y="3434808"/>
            <a:ext cx="5081284" cy="261359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342D1F6-875C-4F73-9292-C3AAE26778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40496" y="2150912"/>
            <a:ext cx="5073866" cy="83955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455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Aft>
                <a:spcPts val="0"/>
              </a:spcAft>
              <a:buFontTx/>
              <a:buNone/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2pPr>
            <a:lvl3pPr marL="0" indent="0">
              <a:spcBef>
                <a:spcPts val="0"/>
              </a:spcBef>
              <a:buFontTx/>
              <a:buNone/>
              <a:defRPr sz="1213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02BA5A0B-ACA6-4775-BB7F-0F44A4EF7E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7" y="5092479"/>
            <a:ext cx="955990" cy="79111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10812D15-BFF6-4022-96D6-207CD21FCD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40496" y="1606818"/>
            <a:ext cx="474911" cy="401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91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Layou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2532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63224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4063243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Layout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082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2E7E2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78FD8C82-E39D-41D1-A2CC-B1597952BB9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Freeform 76">
            <a:extLst>
              <a:ext uri="{FF2B5EF4-FFF2-40B4-BE49-F238E27FC236}">
                <a16:creationId xmlns:a16="http://schemas.microsoft.com/office/drawing/2014/main" id="{2D072733-A60B-4F63-8AD0-2B3E938B0DB7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10714801" y="6603211"/>
            <a:ext cx="692414" cy="106472"/>
          </a:xfrm>
          <a:custGeom>
            <a:avLst/>
            <a:gdLst>
              <a:gd name="T0" fmla="*/ 0 w 23379"/>
              <a:gd name="T1" fmla="*/ 1791 h 3593"/>
              <a:gd name="T2" fmla="*/ 0 w 23379"/>
              <a:gd name="T3" fmla="*/ 1791 h 3593"/>
              <a:gd name="T4" fmla="*/ 2196 w 23379"/>
              <a:gd name="T5" fmla="*/ 3593 h 3593"/>
              <a:gd name="T6" fmla="*/ 4377 w 23379"/>
              <a:gd name="T7" fmla="*/ 2090 h 3593"/>
              <a:gd name="T8" fmla="*/ 3773 w 23379"/>
              <a:gd name="T9" fmla="*/ 2090 h 3593"/>
              <a:gd name="T10" fmla="*/ 2196 w 23379"/>
              <a:gd name="T11" fmla="*/ 3093 h 3593"/>
              <a:gd name="T12" fmla="*/ 598 w 23379"/>
              <a:gd name="T13" fmla="*/ 1791 h 3593"/>
              <a:gd name="T14" fmla="*/ 2196 w 23379"/>
              <a:gd name="T15" fmla="*/ 498 h 3593"/>
              <a:gd name="T16" fmla="*/ 3773 w 23379"/>
              <a:gd name="T17" fmla="*/ 1491 h 3593"/>
              <a:gd name="T18" fmla="*/ 4372 w 23379"/>
              <a:gd name="T19" fmla="*/ 1491 h 3593"/>
              <a:gd name="T20" fmla="*/ 2196 w 23379"/>
              <a:gd name="T21" fmla="*/ 0 h 3593"/>
              <a:gd name="T22" fmla="*/ 0 w 23379"/>
              <a:gd name="T23" fmla="*/ 1791 h 3593"/>
              <a:gd name="T24" fmla="*/ 7027 w 23379"/>
              <a:gd name="T25" fmla="*/ 3593 h 3593"/>
              <a:gd name="T26" fmla="*/ 7027 w 23379"/>
              <a:gd name="T27" fmla="*/ 3593 h 3593"/>
              <a:gd name="T28" fmla="*/ 9223 w 23379"/>
              <a:gd name="T29" fmla="*/ 1791 h 3593"/>
              <a:gd name="T30" fmla="*/ 7027 w 23379"/>
              <a:gd name="T31" fmla="*/ 0 h 3593"/>
              <a:gd name="T32" fmla="*/ 4831 w 23379"/>
              <a:gd name="T33" fmla="*/ 1791 h 3593"/>
              <a:gd name="T34" fmla="*/ 7027 w 23379"/>
              <a:gd name="T35" fmla="*/ 3593 h 3593"/>
              <a:gd name="T36" fmla="*/ 7027 w 23379"/>
              <a:gd name="T37" fmla="*/ 3093 h 3593"/>
              <a:gd name="T38" fmla="*/ 7027 w 23379"/>
              <a:gd name="T39" fmla="*/ 3093 h 3593"/>
              <a:gd name="T40" fmla="*/ 5430 w 23379"/>
              <a:gd name="T41" fmla="*/ 1791 h 3593"/>
              <a:gd name="T42" fmla="*/ 7027 w 23379"/>
              <a:gd name="T43" fmla="*/ 498 h 3593"/>
              <a:gd name="T44" fmla="*/ 8624 w 23379"/>
              <a:gd name="T45" fmla="*/ 1791 h 3593"/>
              <a:gd name="T46" fmla="*/ 7027 w 23379"/>
              <a:gd name="T47" fmla="*/ 3093 h 3593"/>
              <a:gd name="T48" fmla="*/ 13356 w 23379"/>
              <a:gd name="T49" fmla="*/ 49 h 3593"/>
              <a:gd name="T50" fmla="*/ 13356 w 23379"/>
              <a:gd name="T51" fmla="*/ 49 h 3593"/>
              <a:gd name="T52" fmla="*/ 11639 w 23379"/>
              <a:gd name="T53" fmla="*/ 2989 h 3593"/>
              <a:gd name="T54" fmla="*/ 9922 w 23379"/>
              <a:gd name="T55" fmla="*/ 49 h 3593"/>
              <a:gd name="T56" fmla="*/ 9228 w 23379"/>
              <a:gd name="T57" fmla="*/ 49 h 3593"/>
              <a:gd name="T58" fmla="*/ 11290 w 23379"/>
              <a:gd name="T59" fmla="*/ 3543 h 3593"/>
              <a:gd name="T60" fmla="*/ 11989 w 23379"/>
              <a:gd name="T61" fmla="*/ 3543 h 3593"/>
              <a:gd name="T62" fmla="*/ 14050 w 23379"/>
              <a:gd name="T63" fmla="*/ 49 h 3593"/>
              <a:gd name="T64" fmla="*/ 13356 w 23379"/>
              <a:gd name="T65" fmla="*/ 49 h 3593"/>
              <a:gd name="T66" fmla="*/ 17264 w 23379"/>
              <a:gd name="T67" fmla="*/ 3543 h 3593"/>
              <a:gd name="T68" fmla="*/ 17264 w 23379"/>
              <a:gd name="T69" fmla="*/ 3543 h 3593"/>
              <a:gd name="T70" fmla="*/ 17928 w 23379"/>
              <a:gd name="T71" fmla="*/ 3543 h 3593"/>
              <a:gd name="T72" fmla="*/ 15857 w 23379"/>
              <a:gd name="T73" fmla="*/ 49 h 3593"/>
              <a:gd name="T74" fmla="*/ 15178 w 23379"/>
              <a:gd name="T75" fmla="*/ 49 h 3593"/>
              <a:gd name="T76" fmla="*/ 13107 w 23379"/>
              <a:gd name="T77" fmla="*/ 3543 h 3593"/>
              <a:gd name="T78" fmla="*/ 13771 w 23379"/>
              <a:gd name="T79" fmla="*/ 3543 h 3593"/>
              <a:gd name="T80" fmla="*/ 14265 w 23379"/>
              <a:gd name="T81" fmla="*/ 2714 h 3593"/>
              <a:gd name="T82" fmla="*/ 16770 w 23379"/>
              <a:gd name="T83" fmla="*/ 2714 h 3593"/>
              <a:gd name="T84" fmla="*/ 17264 w 23379"/>
              <a:gd name="T85" fmla="*/ 3543 h 3593"/>
              <a:gd name="T86" fmla="*/ 14559 w 23379"/>
              <a:gd name="T87" fmla="*/ 2215 h 3593"/>
              <a:gd name="T88" fmla="*/ 14559 w 23379"/>
              <a:gd name="T89" fmla="*/ 2215 h 3593"/>
              <a:gd name="T90" fmla="*/ 15518 w 23379"/>
              <a:gd name="T91" fmla="*/ 598 h 3593"/>
              <a:gd name="T92" fmla="*/ 16476 w 23379"/>
              <a:gd name="T93" fmla="*/ 2215 h 3593"/>
              <a:gd name="T94" fmla="*/ 14559 w 23379"/>
              <a:gd name="T95" fmla="*/ 2215 h 3593"/>
              <a:gd name="T96" fmla="*/ 18228 w 23379"/>
              <a:gd name="T97" fmla="*/ 3543 h 3593"/>
              <a:gd name="T98" fmla="*/ 18228 w 23379"/>
              <a:gd name="T99" fmla="*/ 3543 h 3593"/>
              <a:gd name="T100" fmla="*/ 19126 w 23379"/>
              <a:gd name="T101" fmla="*/ 3543 h 3593"/>
              <a:gd name="T102" fmla="*/ 20803 w 23379"/>
              <a:gd name="T103" fmla="*/ 2195 h 3593"/>
              <a:gd name="T104" fmla="*/ 22480 w 23379"/>
              <a:gd name="T105" fmla="*/ 3543 h 3593"/>
              <a:gd name="T106" fmla="*/ 23379 w 23379"/>
              <a:gd name="T107" fmla="*/ 3543 h 3593"/>
              <a:gd name="T108" fmla="*/ 21178 w 23379"/>
              <a:gd name="T109" fmla="*/ 1796 h 3593"/>
              <a:gd name="T110" fmla="*/ 23379 w 23379"/>
              <a:gd name="T111" fmla="*/ 49 h 3593"/>
              <a:gd name="T112" fmla="*/ 22480 w 23379"/>
              <a:gd name="T113" fmla="*/ 49 h 3593"/>
              <a:gd name="T114" fmla="*/ 20803 w 23379"/>
              <a:gd name="T115" fmla="*/ 1396 h 3593"/>
              <a:gd name="T116" fmla="*/ 19126 w 23379"/>
              <a:gd name="T117" fmla="*/ 49 h 3593"/>
              <a:gd name="T118" fmla="*/ 18228 w 23379"/>
              <a:gd name="T119" fmla="*/ 49 h 3593"/>
              <a:gd name="T120" fmla="*/ 20429 w 23379"/>
              <a:gd name="T121" fmla="*/ 1796 h 3593"/>
              <a:gd name="T122" fmla="*/ 18228 w 23379"/>
              <a:gd name="T123" fmla="*/ 3543 h 3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379" h="3593">
                <a:moveTo>
                  <a:pt x="0" y="1791"/>
                </a:moveTo>
                <a:lnTo>
                  <a:pt x="0" y="1791"/>
                </a:lnTo>
                <a:cubicBezTo>
                  <a:pt x="0" y="2909"/>
                  <a:pt x="658" y="3593"/>
                  <a:pt x="2196" y="3593"/>
                </a:cubicBezTo>
                <a:cubicBezTo>
                  <a:pt x="3583" y="3593"/>
                  <a:pt x="4262" y="3024"/>
                  <a:pt x="4377" y="2090"/>
                </a:cubicBezTo>
                <a:lnTo>
                  <a:pt x="3773" y="2090"/>
                </a:lnTo>
                <a:cubicBezTo>
                  <a:pt x="3668" y="2829"/>
                  <a:pt x="3089" y="3093"/>
                  <a:pt x="2196" y="3093"/>
                </a:cubicBezTo>
                <a:cubicBezTo>
                  <a:pt x="1182" y="3093"/>
                  <a:pt x="598" y="2764"/>
                  <a:pt x="598" y="1791"/>
                </a:cubicBezTo>
                <a:cubicBezTo>
                  <a:pt x="598" y="822"/>
                  <a:pt x="1177" y="498"/>
                  <a:pt x="2196" y="498"/>
                </a:cubicBezTo>
                <a:cubicBezTo>
                  <a:pt x="3094" y="498"/>
                  <a:pt x="3668" y="758"/>
                  <a:pt x="3773" y="1491"/>
                </a:cubicBezTo>
                <a:lnTo>
                  <a:pt x="4372" y="1491"/>
                </a:lnTo>
                <a:cubicBezTo>
                  <a:pt x="4262" y="563"/>
                  <a:pt x="3583" y="0"/>
                  <a:pt x="2196" y="0"/>
                </a:cubicBezTo>
                <a:cubicBezTo>
                  <a:pt x="658" y="0"/>
                  <a:pt x="0" y="678"/>
                  <a:pt x="0" y="1791"/>
                </a:cubicBezTo>
                <a:close/>
                <a:moveTo>
                  <a:pt x="7027" y="3593"/>
                </a:moveTo>
                <a:lnTo>
                  <a:pt x="7027" y="3593"/>
                </a:lnTo>
                <a:cubicBezTo>
                  <a:pt x="8560" y="3593"/>
                  <a:pt x="9223" y="2904"/>
                  <a:pt x="9223" y="1791"/>
                </a:cubicBezTo>
                <a:cubicBezTo>
                  <a:pt x="9223" y="683"/>
                  <a:pt x="8560" y="0"/>
                  <a:pt x="7027" y="0"/>
                </a:cubicBezTo>
                <a:cubicBezTo>
                  <a:pt x="5490" y="0"/>
                  <a:pt x="4831" y="678"/>
                  <a:pt x="4831" y="1791"/>
                </a:cubicBezTo>
                <a:cubicBezTo>
                  <a:pt x="4831" y="2909"/>
                  <a:pt x="5490" y="3593"/>
                  <a:pt x="7027" y="3593"/>
                </a:cubicBezTo>
                <a:close/>
                <a:moveTo>
                  <a:pt x="7027" y="3093"/>
                </a:moveTo>
                <a:lnTo>
                  <a:pt x="7027" y="3093"/>
                </a:lnTo>
                <a:cubicBezTo>
                  <a:pt x="5964" y="3093"/>
                  <a:pt x="5430" y="2764"/>
                  <a:pt x="5430" y="1791"/>
                </a:cubicBezTo>
                <a:cubicBezTo>
                  <a:pt x="5430" y="822"/>
                  <a:pt x="5959" y="498"/>
                  <a:pt x="7027" y="498"/>
                </a:cubicBezTo>
                <a:cubicBezTo>
                  <a:pt x="8095" y="498"/>
                  <a:pt x="8624" y="827"/>
                  <a:pt x="8624" y="1791"/>
                </a:cubicBezTo>
                <a:cubicBezTo>
                  <a:pt x="8624" y="2759"/>
                  <a:pt x="8090" y="3093"/>
                  <a:pt x="7027" y="3093"/>
                </a:cubicBezTo>
                <a:close/>
                <a:moveTo>
                  <a:pt x="13356" y="49"/>
                </a:moveTo>
                <a:lnTo>
                  <a:pt x="13356" y="49"/>
                </a:lnTo>
                <a:lnTo>
                  <a:pt x="11639" y="2989"/>
                </a:lnTo>
                <a:lnTo>
                  <a:pt x="9922" y="49"/>
                </a:lnTo>
                <a:lnTo>
                  <a:pt x="9228" y="49"/>
                </a:lnTo>
                <a:lnTo>
                  <a:pt x="11290" y="3543"/>
                </a:lnTo>
                <a:lnTo>
                  <a:pt x="11989" y="3543"/>
                </a:lnTo>
                <a:lnTo>
                  <a:pt x="14050" y="49"/>
                </a:lnTo>
                <a:lnTo>
                  <a:pt x="13356" y="49"/>
                </a:lnTo>
                <a:close/>
                <a:moveTo>
                  <a:pt x="17264" y="3543"/>
                </a:moveTo>
                <a:lnTo>
                  <a:pt x="17264" y="3543"/>
                </a:lnTo>
                <a:lnTo>
                  <a:pt x="17928" y="3543"/>
                </a:lnTo>
                <a:lnTo>
                  <a:pt x="15857" y="49"/>
                </a:lnTo>
                <a:lnTo>
                  <a:pt x="15178" y="49"/>
                </a:lnTo>
                <a:lnTo>
                  <a:pt x="13107" y="3543"/>
                </a:lnTo>
                <a:lnTo>
                  <a:pt x="13771" y="3543"/>
                </a:lnTo>
                <a:lnTo>
                  <a:pt x="14265" y="2714"/>
                </a:lnTo>
                <a:lnTo>
                  <a:pt x="16770" y="2714"/>
                </a:lnTo>
                <a:lnTo>
                  <a:pt x="17264" y="3543"/>
                </a:lnTo>
                <a:close/>
                <a:moveTo>
                  <a:pt x="14559" y="2215"/>
                </a:moveTo>
                <a:lnTo>
                  <a:pt x="14559" y="2215"/>
                </a:lnTo>
                <a:lnTo>
                  <a:pt x="15518" y="598"/>
                </a:lnTo>
                <a:lnTo>
                  <a:pt x="16476" y="2215"/>
                </a:lnTo>
                <a:lnTo>
                  <a:pt x="14559" y="2215"/>
                </a:lnTo>
                <a:close/>
                <a:moveTo>
                  <a:pt x="18228" y="3543"/>
                </a:moveTo>
                <a:lnTo>
                  <a:pt x="18228" y="3543"/>
                </a:lnTo>
                <a:lnTo>
                  <a:pt x="19126" y="3543"/>
                </a:lnTo>
                <a:lnTo>
                  <a:pt x="20803" y="2195"/>
                </a:lnTo>
                <a:lnTo>
                  <a:pt x="22480" y="3543"/>
                </a:lnTo>
                <a:lnTo>
                  <a:pt x="23379" y="3543"/>
                </a:lnTo>
                <a:lnTo>
                  <a:pt x="21178" y="1796"/>
                </a:lnTo>
                <a:lnTo>
                  <a:pt x="23379" y="49"/>
                </a:lnTo>
                <a:lnTo>
                  <a:pt x="22480" y="49"/>
                </a:lnTo>
                <a:lnTo>
                  <a:pt x="20803" y="1396"/>
                </a:lnTo>
                <a:lnTo>
                  <a:pt x="19126" y="49"/>
                </a:lnTo>
                <a:lnTo>
                  <a:pt x="18228" y="49"/>
                </a:lnTo>
                <a:lnTo>
                  <a:pt x="20429" y="1796"/>
                </a:lnTo>
                <a:lnTo>
                  <a:pt x="18228" y="3543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2063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4 x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42887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82DE3620-FF46-4B76-AAB9-DA1B6218E935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02B8336F-F0D4-4BC7-8ABC-2AB9B51D18C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1454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49FC8846-079B-41AE-B836-FAD08E0C32D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638" y="1245959"/>
            <a:ext cx="5299823" cy="4802443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E7F864D5-53D1-4798-9693-FAD45F36240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90110" y="3865484"/>
            <a:ext cx="2424253" cy="218291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09D04CD5-6785-4614-82A0-EB606F9E758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14539" y="1245958"/>
            <a:ext cx="5299823" cy="2183042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750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28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42FA494-CA0E-4F88-A7C3-26260F2C30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46A5BA38-A732-42ED-B9BB-81BDD3BB04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88046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081283" cy="810030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96019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F4306BB-6547-4B5E-8784-4CBAC01B61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0675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5335021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0675" y="1529131"/>
            <a:ext cx="5335021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555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F6DBB05F-4272-4D46-84A3-F2972EF1D5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>
              <a:lumMod val="75000"/>
            </a:schemeClr>
          </a:solidFill>
        </p:spPr>
        <p:txBody>
          <a:bodyPr bIns="1764000" anchor="ctr">
            <a:noAutofit/>
          </a:bodyPr>
          <a:lstStyle>
            <a:lvl1pPr algn="ctr">
              <a:defRPr sz="2183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3086149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3456798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3ED4545-9186-46F2-91B2-2AA7B708AC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7601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48898" y="1529131"/>
            <a:ext cx="3456798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8582A73-10C6-794D-81AF-73F50A3513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1AC58B05-1E3E-1043-A6B5-0A53CB7DD34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5495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6E06685-E104-2249-A1AC-B2EC566C5FB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50760" y="1996560"/>
            <a:ext cx="3456798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162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Text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89B312-7F05-4697-9E87-033701FA6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2D2B0C-092E-425B-B7A9-D5A5FD03D1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7D1F16C-2548-4FFE-AF72-F24418D564E3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555233-33E3-477F-8D67-4FF2B6EA7DF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7" y="577597"/>
            <a:ext cx="11013620" cy="787604"/>
          </a:xfrm>
        </p:spPr>
        <p:txBody>
          <a:bodyPr numCol="5" spcCol="144000"/>
          <a:lstStyle>
            <a:lvl1pPr>
              <a:spcBef>
                <a:spcPts val="1092"/>
              </a:spcBef>
              <a:defRPr sz="1455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19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38171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x Gradient Pan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13574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5CB05DC6-B960-4F41-ACA5-722F02234C2C}"/>
              </a:ext>
            </a:extLst>
          </p:cNvPr>
          <p:cNvSpPr/>
          <p:nvPr userDrawn="1"/>
        </p:nvSpPr>
        <p:spPr>
          <a:xfrm>
            <a:off x="4478621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6BD8A16-8AA1-4A48-A03E-412ECD844E30}"/>
              </a:ext>
            </a:extLst>
          </p:cNvPr>
          <p:cNvSpPr/>
          <p:nvPr userDrawn="1"/>
        </p:nvSpPr>
        <p:spPr>
          <a:xfrm>
            <a:off x="8379604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E88FE1B9-1B38-4607-85CD-8D3FEB0894B0}"/>
              </a:ext>
            </a:extLst>
          </p:cNvPr>
          <p:cNvSpPr/>
          <p:nvPr userDrawn="1"/>
        </p:nvSpPr>
        <p:spPr>
          <a:xfrm>
            <a:off x="577638" y="1508364"/>
            <a:ext cx="3234758" cy="4449850"/>
          </a:xfrm>
          <a:prstGeom prst="roundRect">
            <a:avLst>
              <a:gd name="adj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>
              <a:solidFill>
                <a:schemeClr val="tx1"/>
              </a:solidFill>
            </a:endParaRPr>
          </a:p>
        </p:txBody>
      </p:sp>
      <p:sp>
        <p:nvSpPr>
          <p:cNvPr id="24" name="Text Placeholder 29">
            <a:extLst>
              <a:ext uri="{FF2B5EF4-FFF2-40B4-BE49-F238E27FC236}">
                <a16:creationId xmlns:a16="http://schemas.microsoft.com/office/drawing/2014/main" id="{1AF43CD3-74BD-42C3-9321-3A5E678B671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090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9">
            <a:extLst>
              <a:ext uri="{FF2B5EF4-FFF2-40B4-BE49-F238E27FC236}">
                <a16:creationId xmlns:a16="http://schemas.microsoft.com/office/drawing/2014/main" id="{2A91401C-CD03-4B80-B78A-FED6C1387A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7090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9">
            <a:extLst>
              <a:ext uri="{FF2B5EF4-FFF2-40B4-BE49-F238E27FC236}">
                <a16:creationId xmlns:a16="http://schemas.microsoft.com/office/drawing/2014/main" id="{987E1084-1588-4DFF-8B16-45159E5A7F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7090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9">
            <a:extLst>
              <a:ext uri="{FF2B5EF4-FFF2-40B4-BE49-F238E27FC236}">
                <a16:creationId xmlns:a16="http://schemas.microsoft.com/office/drawing/2014/main" id="{8C12D9D7-8C03-4D7A-B03B-C1BC41AB6B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41136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9">
            <a:extLst>
              <a:ext uri="{FF2B5EF4-FFF2-40B4-BE49-F238E27FC236}">
                <a16:creationId xmlns:a16="http://schemas.microsoft.com/office/drawing/2014/main" id="{F217037E-D485-4433-8172-120C59DAC4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1136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9">
            <a:extLst>
              <a:ext uri="{FF2B5EF4-FFF2-40B4-BE49-F238E27FC236}">
                <a16:creationId xmlns:a16="http://schemas.microsoft.com/office/drawing/2014/main" id="{99CF9FB5-3A52-4CBE-9EA9-E5B1B14F62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41136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29">
            <a:extLst>
              <a:ext uri="{FF2B5EF4-FFF2-40B4-BE49-F238E27FC236}">
                <a16:creationId xmlns:a16="http://schemas.microsoft.com/office/drawing/2014/main" id="{2C483B3F-2A51-4389-A469-7247CC00F75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542118" y="1670632"/>
            <a:ext cx="2909728" cy="257558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9">
            <a:extLst>
              <a:ext uri="{FF2B5EF4-FFF2-40B4-BE49-F238E27FC236}">
                <a16:creationId xmlns:a16="http://schemas.microsoft.com/office/drawing/2014/main" id="{3167602A-C6EA-403C-BBD7-A1E2856EBF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42118" y="1962466"/>
            <a:ext cx="2909728" cy="877189"/>
          </a:xfrm>
        </p:spPr>
        <p:txBody>
          <a:bodyPr/>
          <a:lstStyle>
            <a:lvl1pPr>
              <a:defRPr sz="2426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9">
            <a:extLst>
              <a:ext uri="{FF2B5EF4-FFF2-40B4-BE49-F238E27FC236}">
                <a16:creationId xmlns:a16="http://schemas.microsoft.com/office/drawing/2014/main" id="{4E6CC2EE-53D5-45F8-ABF1-A33B753B1C4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542118" y="2551053"/>
            <a:ext cx="2909728" cy="190437"/>
          </a:xfrm>
        </p:spPr>
        <p:txBody>
          <a:bodyPr/>
          <a:lstStyle>
            <a:lvl1pPr>
              <a:defRPr sz="1092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808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l-i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Dial-in Details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35184" y="2299040"/>
            <a:ext cx="3379179" cy="3749361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9484F1-8E49-054A-9340-C8D241F519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3384" y="2342855"/>
            <a:ext cx="3033496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Topic</a:t>
            </a:r>
          </a:p>
          <a:p>
            <a:pPr lvl="1"/>
            <a:r>
              <a:rPr lang="en-GB" dirty="0"/>
              <a:t>Meeting title</a:t>
            </a:r>
          </a:p>
          <a:p>
            <a:pPr lvl="1"/>
            <a:endParaRPr lang="en-GB" dirty="0"/>
          </a:p>
          <a:p>
            <a:pPr lvl="0"/>
            <a:r>
              <a:rPr lang="en-GB" dirty="0"/>
              <a:t>Time</a:t>
            </a:r>
          </a:p>
          <a:p>
            <a:pPr lvl="1"/>
            <a:r>
              <a:rPr lang="en-GB" dirty="0"/>
              <a:t>MMM DD, YYYY</a:t>
            </a:r>
          </a:p>
          <a:p>
            <a:pPr lvl="1"/>
            <a:r>
              <a:rPr lang="en-GB" dirty="0"/>
              <a:t>04:00 PM CET/10:00 AM ET</a:t>
            </a:r>
          </a:p>
          <a:p>
            <a:pPr lvl="1"/>
            <a:endParaRPr lang="en-GB" dirty="0"/>
          </a:p>
          <a:p>
            <a:pPr lvl="0"/>
            <a:r>
              <a:rPr lang="en-GB" dirty="0"/>
              <a:t>Estimated call length</a:t>
            </a:r>
          </a:p>
          <a:p>
            <a:pPr lvl="1"/>
            <a:r>
              <a:rPr lang="en-GB" dirty="0"/>
              <a:t>30 minut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0A48F11-6954-3949-8D79-D73631815C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46667" y="2350101"/>
            <a:ext cx="4148729" cy="3705543"/>
          </a:xfrm>
        </p:spPr>
        <p:txBody>
          <a:bodyPr wrap="square" numCol="1" spcCol="756000" anchor="t">
            <a:noAutofit/>
          </a:bodyPr>
          <a:lstStyle>
            <a:lvl1pPr marL="0" indent="0">
              <a:spcBef>
                <a:spcPts val="970"/>
              </a:spcBef>
              <a:spcAft>
                <a:spcPts val="0"/>
              </a:spcAft>
              <a:buFont typeface="Arial" panose="020B0604020202020204" pitchFamily="34" charset="0"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  <a:lvl2pPr marL="0" marR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 sz="1395" b="0" i="0">
                <a:latin typeface="Poppins" pitchFamily="2" charset="77"/>
                <a:cs typeface="Poppins" pitchFamily="2" charset="77"/>
              </a:defRPr>
            </a:lvl2pPr>
            <a:lvl3pPr marL="0" indent="0">
              <a:buFontTx/>
              <a:buNone/>
              <a:defRPr sz="1455" b="0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Join Zoom meeting</a:t>
            </a:r>
          </a:p>
          <a:p>
            <a:pPr lvl="1"/>
            <a:r>
              <a:rPr lang="en-GB" dirty="0"/>
              <a:t>Https://</a:t>
            </a:r>
            <a:r>
              <a:rPr lang="en-GB" dirty="0" err="1"/>
              <a:t>zoom.us</a:t>
            </a:r>
            <a:r>
              <a:rPr lang="en-GB" dirty="0"/>
              <a:t>/#/########</a:t>
            </a:r>
          </a:p>
          <a:p>
            <a:pPr lvl="1"/>
            <a:endParaRPr lang="en-GB" dirty="0"/>
          </a:p>
          <a:p>
            <a:pPr lvl="0"/>
            <a:r>
              <a:rPr lang="en-GB" dirty="0"/>
              <a:t>Meeting ID</a:t>
            </a:r>
          </a:p>
          <a:p>
            <a:pPr lvl="1"/>
            <a:r>
              <a:rPr lang="en-GB" dirty="0"/>
              <a:t>985 717 469</a:t>
            </a:r>
          </a:p>
          <a:p>
            <a:pPr lvl="0"/>
            <a:r>
              <a:rPr lang="en-GB" dirty="0"/>
              <a:t>One tap mobile</a:t>
            </a:r>
          </a:p>
          <a:p>
            <a:pPr marL="0" marR="0" lvl="1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+ 00000000000, 00000000000# US (New York)</a:t>
            </a:r>
          </a:p>
          <a:p>
            <a:pPr lvl="0"/>
            <a:r>
              <a:rPr lang="en-GB" dirty="0"/>
              <a:t>Dial by your location </a:t>
            </a:r>
          </a:p>
          <a:p>
            <a:pPr lvl="1"/>
            <a:r>
              <a:rPr lang="en-GB" dirty="0"/>
              <a:t>+0 000 000 0000 US (New York)</a:t>
            </a:r>
            <a:br>
              <a:rPr lang="en-GB" dirty="0"/>
            </a:br>
            <a:r>
              <a:rPr lang="en-GB" dirty="0"/>
              <a:t>+ 0 000 000 0000 (Switzerland)</a:t>
            </a:r>
          </a:p>
          <a:p>
            <a:pPr lvl="0"/>
            <a:r>
              <a:rPr lang="en-GB" dirty="0"/>
              <a:t>Find your local number</a:t>
            </a:r>
          </a:p>
          <a:p>
            <a:pPr lvl="1"/>
            <a:r>
              <a:rPr lang="en-GB" dirty="0"/>
              <a:t>https://</a:t>
            </a:r>
            <a:r>
              <a:rPr lang="en-GB" dirty="0" err="1"/>
              <a:t>zoom.us</a:t>
            </a:r>
            <a:r>
              <a:rPr lang="en-GB" dirty="0"/>
              <a:t>/#/########</a:t>
            </a:r>
          </a:p>
        </p:txBody>
      </p:sp>
    </p:spTree>
    <p:extLst>
      <p:ext uri="{BB962C8B-B14F-4D97-AF65-F5344CB8AC3E}">
        <p14:creationId xmlns:p14="http://schemas.microsoft.com/office/powerpoint/2010/main" val="413576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670840543"/>
              </p:ext>
            </p:extLst>
          </p:nvPr>
        </p:nvGraphicFramePr>
        <p:xfrm>
          <a:off x="577221" y="2730107"/>
          <a:ext cx="11036723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59181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59181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Timeline/Milestones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42865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31061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8787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767645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4867" y="2274402"/>
            <a:ext cx="2746511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622" y="2274402"/>
            <a:ext cx="2746176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46799" y="2274402"/>
            <a:ext cx="277393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767645" cy="460026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44867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5666" y="3035786"/>
            <a:ext cx="2751133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863644" y="3035786"/>
            <a:ext cx="2750300" cy="460026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783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620841948"/>
              </p:ext>
            </p:extLst>
          </p:nvPr>
        </p:nvGraphicFramePr>
        <p:xfrm>
          <a:off x="577222" y="2730107"/>
          <a:ext cx="11036928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207386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207386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Timeline/Milestones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98170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5200179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74000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962482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2193914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9702" y="2276559"/>
            <a:ext cx="2212480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 dirty="0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02182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096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14827" y="2274402"/>
            <a:ext cx="2199323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8970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002182" y="3035786"/>
            <a:ext cx="2193914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6096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414827" y="3035786"/>
            <a:ext cx="2205910" cy="639178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592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59817621"/>
              </p:ext>
            </p:extLst>
          </p:nvPr>
        </p:nvGraphicFramePr>
        <p:xfrm>
          <a:off x="577222" y="2730107"/>
          <a:ext cx="11036928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839488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839488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Timeline/Milestones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61125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44599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629999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8140082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9988110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19253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 dirty="0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6191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6000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3008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7211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19253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26191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6000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93008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772119" y="3036328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0407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/ Milestones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042072"/>
              </p:ext>
            </p:extLst>
          </p:nvPr>
        </p:nvGraphicFramePr>
        <p:xfrm>
          <a:off x="577222" y="2730107"/>
          <a:ext cx="11036723" cy="3318295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1576675">
                  <a:extLst>
                    <a:ext uri="{9D8B030D-6E8A-4147-A177-3AD203B41FA5}">
                      <a16:colId xmlns:a16="http://schemas.microsoft.com/office/drawing/2014/main" val="4151945498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380964293"/>
                    </a:ext>
                  </a:extLst>
                </a:gridCol>
                <a:gridCol w="1576675">
                  <a:extLst>
                    <a:ext uri="{9D8B030D-6E8A-4147-A177-3AD203B41FA5}">
                      <a16:colId xmlns:a16="http://schemas.microsoft.com/office/drawing/2014/main" val="2998086781"/>
                    </a:ext>
                  </a:extLst>
                </a:gridCol>
              </a:tblGrid>
              <a:tr h="331829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24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Timeline/Milestones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273378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0550B66-ACB8-412D-961E-711CE5C8D994}"/>
              </a:ext>
            </a:extLst>
          </p:cNvPr>
          <p:cNvSpPr/>
          <p:nvPr/>
        </p:nvSpPr>
        <p:spPr>
          <a:xfrm>
            <a:off x="234390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92459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CD996F1-C360-4368-A00A-CE14EF9239BF}"/>
              </a:ext>
            </a:extLst>
          </p:cNvPr>
          <p:cNvSpPr/>
          <p:nvPr/>
        </p:nvSpPr>
        <p:spPr>
          <a:xfrm>
            <a:off x="5505274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7085958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EED920D-5A0E-4D1A-B8B2-01481F89A849}"/>
              </a:ext>
            </a:extLst>
          </p:cNvPr>
          <p:cNvSpPr/>
          <p:nvPr/>
        </p:nvSpPr>
        <p:spPr>
          <a:xfrm>
            <a:off x="8666641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 dirty="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10247326" y="267224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4" name="Text Placeholder 71">
            <a:extLst>
              <a:ext uri="{FF2B5EF4-FFF2-40B4-BE49-F238E27FC236}">
                <a16:creationId xmlns:a16="http://schemas.microsoft.com/office/drawing/2014/main" id="{BAC3A3AA-103A-4FA4-B47A-C06635DC2A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51908" y="2276559"/>
            <a:ext cx="1588608" cy="296171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ClrTx/>
              <a:buSzPct val="75000"/>
              <a:buFontTx/>
              <a:buNone/>
              <a:tabLst/>
              <a:defRPr/>
            </a:pPr>
            <a:r>
              <a:rPr lang="en-GB" dirty="0"/>
              <a:t>Year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26594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6" name="Text Placeholder 71">
            <a:extLst>
              <a:ext uri="{FF2B5EF4-FFF2-40B4-BE49-F238E27FC236}">
                <a16:creationId xmlns:a16="http://schemas.microsoft.com/office/drawing/2014/main" id="{8AB98D0E-B1F8-41D1-8D0E-591C18A0E1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301279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75965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8" name="Text Placeholder 71">
            <a:extLst>
              <a:ext uri="{FF2B5EF4-FFF2-40B4-BE49-F238E27FC236}">
                <a16:creationId xmlns:a16="http://schemas.microsoft.com/office/drawing/2014/main" id="{0F502F2E-BE4E-4F98-AC09-F0807D222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50651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25337" y="2274402"/>
            <a:ext cx="1588608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Year</a:t>
            </a:r>
          </a:p>
        </p:txBody>
      </p:sp>
      <p:sp>
        <p:nvSpPr>
          <p:cNvPr id="80" name="Text Placeholder 71">
            <a:extLst>
              <a:ext uri="{FF2B5EF4-FFF2-40B4-BE49-F238E27FC236}">
                <a16:creationId xmlns:a16="http://schemas.microsoft.com/office/drawing/2014/main" id="{09CC056F-9D17-4EB7-B0FD-48019E7E2B0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7222" y="3035786"/>
            <a:ext cx="1588608" cy="818329"/>
          </a:xfrm>
        </p:spPr>
        <p:txBody>
          <a:bodyPr lIns="288000" rIns="288000" bIns="288000" anchor="t" anchorCtr="0"/>
          <a:lstStyle>
            <a:lvl1pPr>
              <a:defRPr lang="en-GB" sz="970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 b="0">
                <a:solidFill>
                  <a:schemeClr val="tx1"/>
                </a:solidFill>
              </a:rPr>
              <a:t>Click to edit Master text styles</a:t>
            </a:r>
          </a:p>
        </p:txBody>
      </p:sp>
      <p:sp>
        <p:nvSpPr>
          <p:cNvPr id="81" name="Text Placeholder 71">
            <a:extLst>
              <a:ext uri="{FF2B5EF4-FFF2-40B4-BE49-F238E27FC236}">
                <a16:creationId xmlns:a16="http://schemas.microsoft.com/office/drawing/2014/main" id="{DFCA2012-D010-48B8-A2FE-D43677509B3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51908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82" name="Text Placeholder 71">
            <a:extLst>
              <a:ext uri="{FF2B5EF4-FFF2-40B4-BE49-F238E27FC236}">
                <a16:creationId xmlns:a16="http://schemas.microsoft.com/office/drawing/2014/main" id="{4808DC9B-6760-4707-A987-F10C9B1C6B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26594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3" name="Text Placeholder 71">
            <a:extLst>
              <a:ext uri="{FF2B5EF4-FFF2-40B4-BE49-F238E27FC236}">
                <a16:creationId xmlns:a16="http://schemas.microsoft.com/office/drawing/2014/main" id="{5BEAD4C3-C053-4BCA-AD42-9FAF439BF27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301279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4" name="Text Placeholder 71">
            <a:extLst>
              <a:ext uri="{FF2B5EF4-FFF2-40B4-BE49-F238E27FC236}">
                <a16:creationId xmlns:a16="http://schemas.microsoft.com/office/drawing/2014/main" id="{EAFEF8AB-B626-4FFE-B184-2D41AE6048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75965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5" name="Text Placeholder 71">
            <a:extLst>
              <a:ext uri="{FF2B5EF4-FFF2-40B4-BE49-F238E27FC236}">
                <a16:creationId xmlns:a16="http://schemas.microsoft.com/office/drawing/2014/main" id="{A2353D5E-8772-46DC-B085-E1CE6ABC564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50651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lvl="0" algn="l">
              <a:lnSpc>
                <a:spcPct val="120000"/>
              </a:lnSpc>
              <a:spcAft>
                <a:spcPts val="1455"/>
              </a:spcAft>
            </a:pPr>
            <a:r>
              <a:rPr lang="en-US" sz="970"/>
              <a:t>Click to edit Master text styles</a:t>
            </a:r>
          </a:p>
        </p:txBody>
      </p:sp>
      <p:sp>
        <p:nvSpPr>
          <p:cNvPr id="86" name="Text Placeholder 71">
            <a:extLst>
              <a:ext uri="{FF2B5EF4-FFF2-40B4-BE49-F238E27FC236}">
                <a16:creationId xmlns:a16="http://schemas.microsoft.com/office/drawing/2014/main" id="{947BFEF4-7AA3-4A1C-B7FE-6DF1E40CA7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0025337" y="3035786"/>
            <a:ext cx="1588608" cy="818329"/>
          </a:xfrm>
        </p:spPr>
        <p:txBody>
          <a:bodyPr lIns="288000" rIns="288000" bIns="288000" anchor="t" anchorCtr="0"/>
          <a:lstStyle>
            <a:lvl1pPr>
              <a:defRPr sz="970" b="0"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55449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455"/>
              </a:spcAft>
              <a:buClrTx/>
              <a:buSzTx/>
              <a:buFontTx/>
              <a:buNone/>
              <a:tabLst/>
              <a:defRPr/>
            </a:pPr>
            <a:r>
              <a:rPr lang="en-US" sz="970" b="0" i="0">
                <a:solidFill>
                  <a:schemeClr val="tx1"/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622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ivery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315CC76F-6579-4347-9D3E-1D56C656A66C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296936976"/>
              </p:ext>
            </p:extLst>
          </p:nvPr>
        </p:nvGraphicFramePr>
        <p:xfrm>
          <a:off x="577221" y="3126838"/>
          <a:ext cx="11049048" cy="2921564"/>
        </p:xfrm>
        <a:graphic>
          <a:graphicData uri="http://schemas.openxmlformats.org/drawingml/2006/table">
            <a:tbl>
              <a:tblPr bandCol="1">
                <a:tableStyleId>{2D5ABB26-0587-4C30-8999-92F81FD0307C}</a:tableStyleId>
              </a:tblPr>
              <a:tblGrid>
                <a:gridCol w="2762262">
                  <a:extLst>
                    <a:ext uri="{9D8B030D-6E8A-4147-A177-3AD203B41FA5}">
                      <a16:colId xmlns:a16="http://schemas.microsoft.com/office/drawing/2014/main" val="1382627474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312284562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1977789979"/>
                    </a:ext>
                  </a:extLst>
                </a:gridCol>
                <a:gridCol w="2762262">
                  <a:extLst>
                    <a:ext uri="{9D8B030D-6E8A-4147-A177-3AD203B41FA5}">
                      <a16:colId xmlns:a16="http://schemas.microsoft.com/office/drawing/2014/main" val="289107806"/>
                    </a:ext>
                  </a:extLst>
                </a:gridCol>
              </a:tblGrid>
              <a:tr h="292156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Aft>
                          <a:spcPts val="24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56" marR="174656" marT="218304" marB="174643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904028"/>
                  </a:ext>
                </a:extLst>
              </a:tr>
            </a:tbl>
          </a:graphicData>
        </a:graphic>
      </p:graphicFrame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Delivery Timeline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90578DB9-BA6E-47D0-A9E9-CCE6534555DB}"/>
              </a:ext>
            </a:extLst>
          </p:cNvPr>
          <p:cNvSpPr/>
          <p:nvPr userDrawn="1"/>
        </p:nvSpPr>
        <p:spPr>
          <a:xfrm>
            <a:off x="577850" y="3130517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E7A0D4B-AB57-44B0-97E1-0F74C2C20372}"/>
              </a:ext>
            </a:extLst>
          </p:cNvPr>
          <p:cNvSpPr/>
          <p:nvPr/>
        </p:nvSpPr>
        <p:spPr>
          <a:xfrm>
            <a:off x="763224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08C9AC41-4B38-40D6-B070-CDF412ECA81A}"/>
              </a:ext>
            </a:extLst>
          </p:cNvPr>
          <p:cNvSpPr/>
          <p:nvPr/>
        </p:nvSpPr>
        <p:spPr>
          <a:xfrm>
            <a:off x="3530909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44AA5FF5-FC45-4C9B-833A-3EAAFD5E25BD}"/>
              </a:ext>
            </a:extLst>
          </p:cNvPr>
          <p:cNvSpPr/>
          <p:nvPr/>
        </p:nvSpPr>
        <p:spPr>
          <a:xfrm>
            <a:off x="6298593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33F6E636-79A6-4B30-8BC0-632CE4B6ECAC}"/>
              </a:ext>
            </a:extLst>
          </p:cNvPr>
          <p:cNvSpPr/>
          <p:nvPr/>
        </p:nvSpPr>
        <p:spPr>
          <a:xfrm>
            <a:off x="9066277" y="3068975"/>
            <a:ext cx="134646" cy="134636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BAF604B7-6B9E-4D76-9381-483BAA560F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22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Month - Month</a:t>
            </a:r>
          </a:p>
        </p:txBody>
      </p:sp>
      <p:sp>
        <p:nvSpPr>
          <p:cNvPr id="75" name="Text Placeholder 71">
            <a:extLst>
              <a:ext uri="{FF2B5EF4-FFF2-40B4-BE49-F238E27FC236}">
                <a16:creationId xmlns:a16="http://schemas.microsoft.com/office/drawing/2014/main" id="{70B4A5F4-0003-4BDE-938E-71D88633E9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40372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Month - Month</a:t>
            </a:r>
          </a:p>
        </p:txBody>
      </p:sp>
      <p:sp>
        <p:nvSpPr>
          <p:cNvPr id="77" name="Text Placeholder 71">
            <a:extLst>
              <a:ext uri="{FF2B5EF4-FFF2-40B4-BE49-F238E27FC236}">
                <a16:creationId xmlns:a16="http://schemas.microsoft.com/office/drawing/2014/main" id="{F661787A-E9F2-4488-B868-12E932D45B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352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Month - Month</a:t>
            </a:r>
          </a:p>
        </p:txBody>
      </p:sp>
      <p:sp>
        <p:nvSpPr>
          <p:cNvPr id="79" name="Text Placeholder 71">
            <a:extLst>
              <a:ext uri="{FF2B5EF4-FFF2-40B4-BE49-F238E27FC236}">
                <a16:creationId xmlns:a16="http://schemas.microsoft.com/office/drawing/2014/main" id="{6B04DD5D-0DA6-4CDB-A074-CFE48AA631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66673" y="2671132"/>
            <a:ext cx="2759597" cy="300484"/>
          </a:xfrm>
        </p:spPr>
        <p:txBody>
          <a:bodyPr lIns="288000" rIns="288000" anchor="ctr" anchorCtr="0"/>
          <a:lstStyle>
            <a:lvl1pPr>
              <a:defRPr sz="1698" b="1" i="0"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GB" dirty="0"/>
              <a:t>Month - Mon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FB9A9C-4C9E-469C-9D99-16BC91C138E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486115" y="3366159"/>
            <a:ext cx="8012962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D679B6E4-5400-4DE1-9F08-359DC2F09B7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18431" y="3366159"/>
            <a:ext cx="245208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1F810C97-0A29-45C1-9D60-827E200D0F34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9021483" y="3890527"/>
            <a:ext cx="2477593" cy="460026"/>
          </a:xfrm>
          <a:solidFill>
            <a:schemeClr val="accent1"/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bg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FC6BAC02-B885-47E1-A502-AA5052129E5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718430" y="3890527"/>
            <a:ext cx="8012962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06BDC1B7-A02B-4772-BA3C-4B7BBCD848D2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718431" y="4414895"/>
            <a:ext cx="1078064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88A5BF89-FF15-4E22-A8D9-B81E4C8FB04E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947927" y="4939264"/>
            <a:ext cx="9538396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28A648F4-45A3-4893-B1D5-F9EAB33F1565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493246" y="5463631"/>
            <a:ext cx="3986725" cy="460026"/>
          </a:xfrm>
          <a:solidFill>
            <a:schemeClr val="accent1">
              <a:lumMod val="40000"/>
              <a:lumOff val="60000"/>
            </a:schemeClr>
          </a:solidFill>
        </p:spPr>
        <p:txBody>
          <a:bodyPr vert="horz" wrap="square" lIns="288000" tIns="144000" rIns="288000" bIns="144000" rtlCol="0" anchor="ctr" anchorCtr="0">
            <a:spAutoFit/>
          </a:bodyPr>
          <a:lstStyle>
            <a:lvl1pPr>
              <a:defRPr lang="en-US" sz="970" dirty="0" smtClean="0">
                <a:solidFill>
                  <a:schemeClr val="tx1"/>
                </a:solidFill>
              </a:defRPr>
            </a:lvl1pPr>
            <a:lvl2pPr>
              <a:defRPr lang="en-US" sz="485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GB" dirty="0">
                <a:solidFill>
                  <a:schemeClr val="bg1"/>
                </a:solidFill>
              </a:defRPr>
            </a:lvl5pPr>
          </a:lstStyle>
          <a:p>
            <a:pPr marR="0" lvl="0" fontAlgn="auto">
              <a:spcAft>
                <a:spcPts val="1455"/>
              </a:spcAft>
              <a:buClrTx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2315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7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Table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47296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54F6A8A-3C2B-480E-A8DA-BC1ADCD083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48016" y="2773428"/>
            <a:ext cx="3471601" cy="1311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287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Iconography with text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62EC026-4E6F-43DA-923D-6521DED0D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35950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20" name="Picture Placeholder 7">
            <a:extLst>
              <a:ext uri="{FF2B5EF4-FFF2-40B4-BE49-F238E27FC236}">
                <a16:creationId xmlns:a16="http://schemas.microsoft.com/office/drawing/2014/main" id="{2C007047-C920-4EB3-A695-D82C1E3FF2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4B654B1-39D8-4CAE-9F1C-A8E54F3E907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08467" y="2063575"/>
            <a:ext cx="22307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28" name="Picture Placeholder 7">
            <a:extLst>
              <a:ext uri="{FF2B5EF4-FFF2-40B4-BE49-F238E27FC236}">
                <a16:creationId xmlns:a16="http://schemas.microsoft.com/office/drawing/2014/main" id="{97CE11CA-3102-4681-B4BA-0B37EB79C9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3198" y="1904145"/>
            <a:ext cx="1062853" cy="1043630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78F100-7CF5-4CA5-B198-4D0776A22E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6019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mbers / Objectives | Compan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Iconography with text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3" name="Text Placeholder 9">
            <a:extLst>
              <a:ext uri="{FF2B5EF4-FFF2-40B4-BE49-F238E27FC236}">
                <a16:creationId xmlns:a16="http://schemas.microsoft.com/office/drawing/2014/main" id="{DA0263E3-9D44-44C4-88DC-79995A9CE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48759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219E0B61-44AD-498D-9A5E-D4CD2F464A7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3444957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B5D028AE-F44C-46F5-9CEE-FD53C54043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855182" y="1487595"/>
            <a:ext cx="2759181" cy="522581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830D074D-01E1-4932-A37B-4050A540FB0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855182" y="1904145"/>
            <a:ext cx="2759181" cy="4376255"/>
          </a:xfrm>
          <a:prstGeom prst="roundRect">
            <a:avLst>
              <a:gd name="adj" fmla="val 2681"/>
            </a:avLst>
          </a:prstGeom>
          <a:solidFill>
            <a:schemeClr val="bg1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1092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C5CE2C7D-2E7C-4C4A-AD70-D95AE7635BF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5060" y="1954398"/>
            <a:ext cx="2873834" cy="2537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C9D30B78-B412-4432-80AB-05215E5B05E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785451" y="1954398"/>
            <a:ext cx="2873834" cy="253787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51CA350-E600-49F4-98C4-196B708DFE5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3844870"/>
            <a:ext cx="5081284" cy="939362"/>
          </a:xfrm>
        </p:spPr>
        <p:txBody>
          <a:bodyPr/>
          <a:lstStyle>
            <a:lvl2pPr marL="216599" indent="-216599">
              <a:defRPr/>
            </a:lvl2pPr>
            <a:lvl3pPr marL="381213" indent="-174242">
              <a:defRPr/>
            </a:lvl3pPr>
            <a:lvl4pPr marL="926079" indent="-18386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9501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| sourc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5081283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Infographic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0B35CF9D-1C51-4670-B6A1-6C59DE52D7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098118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23227BC4-3697-49CB-8C94-2ABB376D098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1497044" y="3517204"/>
            <a:ext cx="9198321" cy="2537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2FEDC8-D0DD-425E-97D5-0F98C2977C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861" y="5903487"/>
            <a:ext cx="11048278" cy="148117"/>
          </a:xfrm>
        </p:spPr>
        <p:txBody>
          <a:bodyPr/>
          <a:lstStyle>
            <a:lvl1pPr>
              <a:defRPr sz="84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36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Iconography with text</a:t>
            </a:r>
            <a:endParaRPr lang="en-GB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681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2" name="Picture Placeholder 7">
            <a:extLst>
              <a:ext uri="{FF2B5EF4-FFF2-40B4-BE49-F238E27FC236}">
                <a16:creationId xmlns:a16="http://schemas.microsoft.com/office/drawing/2014/main" id="{6619BFD5-09E1-4FC5-85E9-AA0D4F90A8B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681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3B63B8AA-3795-43D0-9A7E-B431EEF939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69043" y="1979471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CD81F978-7C37-4A2F-A2FB-25726566C18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69043" y="4163789"/>
            <a:ext cx="1381938" cy="1438241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A34D31A6-0100-4F14-A575-2F91CDA458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11458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332C0157-8A57-4567-AD90-B772A579EC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9820" y="2336208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B71F1D49-461A-49E8-B21D-5F4956173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411458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585FA147-1037-4901-8E81-747525FB4DA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29820" y="4520525"/>
            <a:ext cx="3242472" cy="724770"/>
          </a:xfrm>
        </p:spPr>
        <p:txBody>
          <a:bodyPr wrap="square" numCol="1" spcCol="756000" anchor="ctr">
            <a:sp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13"/>
            </a:lvl2pPr>
            <a:lvl3pPr marL="0" indent="0">
              <a:buFontTx/>
              <a:buNone/>
              <a:defRPr>
                <a:solidFill>
                  <a:schemeClr val="accent1"/>
                </a:solidFill>
              </a:defRPr>
            </a:lvl3pPr>
            <a:lvl5pPr>
              <a:defRPr/>
            </a:lvl5pPr>
          </a:lstStyle>
          <a:p>
            <a:pPr lvl="0"/>
            <a:r>
              <a:rPr lang="en-GB" dirty="0"/>
              <a:t>Speaker Name</a:t>
            </a:r>
          </a:p>
          <a:p>
            <a:pPr lvl="1"/>
            <a:r>
              <a:rPr lang="en-GB" dirty="0"/>
              <a:t>Job title, Organisation</a:t>
            </a:r>
          </a:p>
          <a:p>
            <a:pPr lvl="2"/>
            <a:r>
              <a:rPr lang="en-GB" dirty="0"/>
              <a:t>@social_handle</a:t>
            </a:r>
          </a:p>
        </p:txBody>
      </p:sp>
    </p:spTree>
    <p:extLst>
      <p:ext uri="{BB962C8B-B14F-4D97-AF65-F5344CB8AC3E}">
        <p14:creationId xmlns:p14="http://schemas.microsoft.com/office/powerpoint/2010/main" val="391309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80AF144C-4F83-4A53-AEB3-4893C96DD04D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77638" y="5936408"/>
            <a:ext cx="11046352" cy="444898"/>
          </a:xfrm>
          <a:solidFill>
            <a:schemeClr val="bg2"/>
          </a:solidFill>
        </p:spPr>
        <p:txBody>
          <a:bodyPr tIns="108000" bIns="144000"/>
          <a:lstStyle>
            <a:lvl1pPr algn="ctr">
              <a:defRPr sz="1092"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Iconography with text x5</a:t>
            </a:r>
            <a:endParaRPr lang="en-GB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340941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2381839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2952564"/>
            <a:ext cx="1838812" cy="39473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92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21BD2F87-1775-4DA1-9F5C-C4C9D94FEDA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096317" y="559210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565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491CD948-AEDF-48BE-92C5-5538CE9FE7C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65CB4B4F-829A-4844-A666-11265CE11D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3595500"/>
            <a:ext cx="11049048" cy="406867"/>
          </a:xfrm>
        </p:spPr>
        <p:txBody>
          <a:bodyPr numCol="6" spcCol="360000" anchor="b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C6547738-490D-47DE-A148-663CEC533E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7638" y="4145140"/>
            <a:ext cx="11036725" cy="294885"/>
          </a:xfrm>
        </p:spPr>
        <p:txBody>
          <a:bodyPr numCol="6" spcCol="360000"/>
          <a:lstStyle>
            <a:lvl1pPr marL="0" indent="0" algn="l">
              <a:buFont typeface="Arial" panose="020B0604020202020204" pitchFamily="34" charset="0"/>
              <a:buNone/>
              <a:defRPr sz="1092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dirty="0"/>
              <a:t>Click to edit Master text styles </a:t>
            </a:r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71E669C7-3F15-4404-9192-6B03E3E087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46020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3" name="Picture Placeholder 7">
            <a:extLst>
              <a:ext uri="{FF2B5EF4-FFF2-40B4-BE49-F238E27FC236}">
                <a16:creationId xmlns:a16="http://schemas.microsoft.com/office/drawing/2014/main" id="{6BDECDBF-1E7F-429C-B857-BC3BE17D9B4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375245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458D35B0-2ABD-4A88-AD9C-250F5B0BFFF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11501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5" name="Picture Placeholder 7">
            <a:extLst>
              <a:ext uri="{FF2B5EF4-FFF2-40B4-BE49-F238E27FC236}">
                <a16:creationId xmlns:a16="http://schemas.microsoft.com/office/drawing/2014/main" id="{7B333D88-0458-48F5-97FB-D2D7718EC7C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856566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463A1320-1804-44CE-8DBA-867CC87A9DB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985791" y="2127400"/>
            <a:ext cx="992574" cy="103301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797DADDD-4137-4C8B-B442-114D65CCBB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34106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Iconography with text multi-colum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3966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9" y="537198"/>
            <a:ext cx="7177775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Iconography with text multi-column</a:t>
            </a:r>
            <a:endParaRPr lang="en-GB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4327381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2500281"/>
            <a:ext cx="1399808" cy="1456839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836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Iconography + Text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470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7" y="1719313"/>
            <a:ext cx="11049048" cy="406867"/>
          </a:xfrm>
        </p:spPr>
        <p:txBody>
          <a:bodyPr numCol="3" spcCol="720000" anchor="t" anchorCtr="0"/>
          <a:lstStyle>
            <a:lvl1pPr marL="0" indent="217561">
              <a:buClr>
                <a:schemeClr val="accent1"/>
              </a:buClr>
              <a:buSzPct val="100000"/>
              <a:buFont typeface="+mj-lt"/>
              <a:buAutoNum type="arabicPeriod"/>
              <a:defRPr sz="1698" b="0" i="0">
                <a:solidFill>
                  <a:schemeClr val="tx1"/>
                </a:solidFill>
                <a:latin typeface="Poppins Medium" pitchFamily="2" charset="77"/>
                <a:cs typeface="Poppins Medium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62016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359237" y="517912"/>
            <a:ext cx="907035" cy="943990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BBCEB9F-975E-4B56-A29F-0854EDFB008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9D6AFE-0A37-46FD-833E-9282879972A7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69882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FC94985-AFDD-4DF6-992E-19087D2130F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423760" y="2735922"/>
            <a:ext cx="3336819" cy="253787"/>
          </a:xfrm>
        </p:spPr>
        <p:txBody>
          <a:bodyPr numCol="1" spcCol="720000"/>
          <a:lstStyle>
            <a:lvl1pPr marL="0" indent="0">
              <a:buClr>
                <a:schemeClr val="accent2"/>
              </a:buClr>
              <a:buSzPct val="100000"/>
              <a:buFont typeface="Wingdings" panose="05000000000000000000" pitchFamily="2" charset="2"/>
              <a:buChar char="§"/>
              <a:defRPr sz="1455" b="0"/>
            </a:lvl1pPr>
            <a:lvl2pPr marL="0" indent="0">
              <a:buFont typeface="Arial" panose="020B0604020202020204" pitchFamily="34" charset="0"/>
              <a:buNone/>
              <a:defRPr sz="1092"/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marL="0" marR="0" lvl="0" indent="-217561" algn="l" defTabSz="554492" rtl="0" eaLnBrk="1" fontAlgn="auto" latinLnBrk="0" hangingPunct="1">
              <a:lnSpc>
                <a:spcPct val="120000"/>
              </a:lnSpc>
              <a:spcBef>
                <a:spcPts val="303"/>
              </a:spcBef>
              <a:spcAft>
                <a:spcPts val="364"/>
              </a:spcAft>
              <a:buClrTx/>
              <a:buSzPct val="75000"/>
              <a:tabLst/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0560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Multi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Iconography with text x5</a:t>
            </a:r>
            <a:endParaRPr lang="en-GB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1587267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252E3C-0AA5-469B-ACE4-9A227101D8C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77638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32ADA5-A0D2-4524-B1E4-2B46413B84B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2877116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999747-8F91-4BF8-B89A-418788FD5011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5176595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spcAft>
                <a:spcPts val="364"/>
              </a:spcAft>
              <a:defRPr>
                <a:latin typeface="Poppins" pitchFamily="2" charset="77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FF637A0C-4B6D-4207-A7D9-CAF1D2DFC8E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476073" y="2735924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9D094B4-29B2-4197-A8AD-66F9F9CAAF3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9775551" y="2735923"/>
            <a:ext cx="1838812" cy="1062270"/>
          </a:xfrm>
        </p:spPr>
        <p:txBody>
          <a:bodyPr/>
          <a:lstStyle>
            <a:lvl1pPr>
              <a:defRPr sz="1092" b="1" i="0"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092">
                <a:latin typeface="Poppins" pitchFamily="2" charset="77"/>
                <a:cs typeface="Poppins" pitchFamily="2" charset="77"/>
              </a:defRPr>
            </a:lvl2pPr>
            <a:lvl3pPr marL="217561" indent="-217561">
              <a:defRPr lang="en-GB" sz="1092" kern="1200" dirty="0">
                <a:solidFill>
                  <a:schemeClr val="tx1"/>
                </a:solidFill>
                <a:latin typeface="Poppins" pitchFamily="2" charset="77"/>
                <a:ea typeface="+mn-ea"/>
                <a:cs typeface="Poppins" pitchFamily="2" charset="77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5754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ography + Text x5+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 dirty="0"/>
              <a:t>Iconography with text x5+1</a:t>
            </a:r>
            <a:endParaRPr lang="en-GB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162A1D43-DF49-4142-959F-DECBBC37F3D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8259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67D0C4-A52F-4BF3-998F-E46C1E9AB9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77638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2323278-E89D-4D80-A18A-B49324F6E74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7638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F7C22C31-03CE-4385-83F9-2DE6B615084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05914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6E72E6E5-210D-43FE-B069-74E7F6C1BD3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7851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67E7BAB-F631-4062-8A88-65F51EC442A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7851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Picture Placeholder 7">
            <a:extLst>
              <a:ext uri="{FF2B5EF4-FFF2-40B4-BE49-F238E27FC236}">
                <a16:creationId xmlns:a16="http://schemas.microsoft.com/office/drawing/2014/main" id="{AD28976D-1BC0-4F05-ABB1-4C595682B3C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660023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3A6BE899-EB40-48CF-AC4E-A642FFFB1AD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79402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348F6FBC-9928-4ECC-8454-6B4856741F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779402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46A933C3-792E-4816-B704-72EAA7D1D4C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359581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8CE8A230-B6E3-43F3-A987-6673C06011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960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C46543DE-6963-4E6B-8D97-FBAB40255BE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78960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5F41846C-3BC7-4A92-AC05-834C65C92F9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58700" y="3164626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AC7F9CE2-C3F9-4791-8B8B-B5803FF1D6C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878079" y="4205525"/>
            <a:ext cx="1838812" cy="526314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37E3A2C-8F9E-4585-9298-05F9DDA873B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878079" y="4572255"/>
            <a:ext cx="1838812" cy="526314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AABBEEF-0FF4-4074-9C40-9B691395E8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58259" y="1638314"/>
            <a:ext cx="718702" cy="747984"/>
          </a:xfrm>
          <a:prstGeom prst="rect">
            <a:avLst/>
          </a:prstGeom>
          <a:noFill/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 sz="97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92962D6-56F3-48D3-9A11-82CCFC1CC0E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511485" y="1551340"/>
            <a:ext cx="4584515" cy="257558"/>
          </a:xfrm>
        </p:spPr>
        <p:txBody>
          <a:bodyPr/>
          <a:lstStyle>
            <a:lvl1pPr>
              <a:defRPr b="1" i="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9095E28A-06FE-49A2-AAE0-DD1F0C107A6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511485" y="1918071"/>
            <a:ext cx="4584515" cy="2575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  <a:lvl2pPr marL="0" indent="0">
              <a:buFont typeface="Arial" panose="020B0604020202020204" pitchFamily="34" charset="0"/>
              <a:buNone/>
              <a:defRPr sz="1455" b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721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42CC9A5-8FA8-4188-B9FB-687FDCC80C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11528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9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3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7357175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637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859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E0AE9E36-7C00-4922-AA13-C35396AF38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9748" y="2734565"/>
            <a:ext cx="3232504" cy="1429316"/>
          </a:xfrm>
        </p:spPr>
        <p:txBody>
          <a:bodyPr numCol="1" spcCol="75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9096" b="0" i="0" spc="-315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7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381859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6F488F1-69E1-4A48-8E9C-2F5EC2BFAB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79748" y="4248829"/>
            <a:ext cx="3232504" cy="253787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8457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5 x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700640E-70DB-4FA8-8906-F2F2D00CF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5518361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271352E-4397-4E5F-A9DC-06B6F5E647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519845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DAB69A2-06C9-4546-819F-AC1A6D1FD0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755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530D9E0-01F3-4B3E-A984-26FC050FE9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7638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D6BD4396-836B-4609-A351-6FA3B73A5F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40394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BEC8D12B-8172-4BD9-B198-FC940EA5F58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869276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4C3A68AC-120B-4739-BD77-EB8D9A277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47712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0A9A1E10-7F09-44CE-87BF-10DBCB2DD3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76594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F45A253A-F83B-4FD4-A131-FA4682A23A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462836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403F967D-B169-4689-B49E-43267F0A42D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491719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2">
            <a:extLst>
              <a:ext uri="{FF2B5EF4-FFF2-40B4-BE49-F238E27FC236}">
                <a16:creationId xmlns:a16="http://schemas.microsoft.com/office/drawing/2014/main" id="{FD3AE7CA-391E-4375-9398-D249BBBFEA7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6668" y="2144063"/>
            <a:ext cx="1896577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5821" b="0" i="0" spc="-73" baseline="0">
                <a:solidFill>
                  <a:schemeClr val="accent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dirty="0" err="1"/>
              <a:t>xxxx</a:t>
            </a:r>
            <a:endParaRPr lang="en-US" dirty="0"/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E4F804E3-C2DE-4602-B167-5B66CA4202B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75550" y="3658327"/>
            <a:ext cx="1838812" cy="52245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/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9652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stat | b/g image / gra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DC44D74-3B3F-47E0-B848-9173CD01DC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noFill/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GB" dirty="0"/>
              <a:t>Immunization, Vaccines and Biological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508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D8794217-5EF6-484A-9789-939A04CBD6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05918" y="2107959"/>
            <a:ext cx="4214820" cy="1429316"/>
          </a:xfrm>
        </p:spPr>
        <p:txBody>
          <a:bodyPr numCol="1" spcCol="756000"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12128" b="0" i="0" spc="-637">
                <a:solidFill>
                  <a:schemeClr val="bg1"/>
                </a:solidFill>
                <a:latin typeface="Poppins Medium" pitchFamily="2" charset="77"/>
                <a:cs typeface="Poppins Medium" pitchFamily="2" charset="77"/>
              </a:defRPr>
            </a:lvl1pPr>
            <a:lvl5pPr>
              <a:defRPr/>
            </a:lvl5pPr>
          </a:lstStyle>
          <a:p>
            <a:pPr lvl="0"/>
            <a:r>
              <a:rPr lang="en-US" dirty="0" err="1"/>
              <a:t>x.xm</a:t>
            </a:r>
            <a:endParaRPr lang="en-US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3DE89019-B2ED-4062-BEFD-1AF245BF4D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405918" y="3480495"/>
            <a:ext cx="4214819" cy="296171"/>
          </a:xfrm>
        </p:spPr>
        <p:txBody>
          <a:bodyPr numCol="1" spcCol="756000"/>
          <a:lstStyle>
            <a:lvl1pPr marL="0" indent="0">
              <a:buFont typeface="Arial" panose="020B0604020202020204" pitchFamily="34" charset="0"/>
              <a:buNone/>
              <a:defRPr sz="1698" b="0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</p:spTree>
    <p:extLst>
      <p:ext uri="{BB962C8B-B14F-4D97-AF65-F5344CB8AC3E}">
        <p14:creationId xmlns:p14="http://schemas.microsoft.com/office/powerpoint/2010/main" val="64686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 | Map + pin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59EA77B-10F0-4804-A145-524336802D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11288" y="1509771"/>
            <a:ext cx="9195987" cy="453863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 dirty="0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DBFC085-0C60-416E-8CFF-15E94416B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8"/>
            <a:ext cx="11013551" cy="403133"/>
          </a:xfrm>
        </p:spPr>
        <p:txBody>
          <a:bodyPr lIns="0" tIns="0" rIns="0" bIns="0"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B553B6D6-CC16-4E40-914D-C81F67547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7638" y="1127910"/>
            <a:ext cx="5081284" cy="261290"/>
          </a:xfrm>
        </p:spPr>
        <p:txBody>
          <a:bodyPr/>
          <a:lstStyle>
            <a:lvl1pPr>
              <a:lnSpc>
                <a:spcPct val="100000"/>
              </a:lnSpc>
              <a:buFont typeface="Arial" panose="020B0604020202020204" pitchFamily="34" charset="0"/>
              <a:buNone/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2">
            <a:extLst>
              <a:ext uri="{FF2B5EF4-FFF2-40B4-BE49-F238E27FC236}">
                <a16:creationId xmlns:a16="http://schemas.microsoft.com/office/drawing/2014/main" id="{28651641-59C0-4E53-BC82-FBC2B7BB8DB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7638" y="5974456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22">
            <a:extLst>
              <a:ext uri="{FF2B5EF4-FFF2-40B4-BE49-F238E27FC236}">
                <a16:creationId xmlns:a16="http://schemas.microsoft.com/office/drawing/2014/main" id="{E20BD56E-0E17-4AED-B089-01FA1B56B6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7638" y="5537888"/>
            <a:ext cx="3140422" cy="171705"/>
          </a:xfrm>
        </p:spPr>
        <p:txBody>
          <a:bodyPr tIns="0" bIns="0" anchor="t" anchorCtr="0"/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C73E20F7-E9CB-484A-B765-8163DC385D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81812" y="416343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 sz="1455" b="1" i="0" baseline="30000">
                <a:solidFill>
                  <a:schemeClr val="accent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 Placeholder 22">
            <a:extLst>
              <a:ext uri="{FF2B5EF4-FFF2-40B4-BE49-F238E27FC236}">
                <a16:creationId xmlns:a16="http://schemas.microsoft.com/office/drawing/2014/main" id="{3E398FEC-3245-4CB1-99A2-4E4EDB86690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24726" y="3036052"/>
            <a:ext cx="2314188" cy="171705"/>
          </a:xfrm>
        </p:spPr>
        <p:txBody>
          <a:bodyPr wrap="square" tIns="0" bIns="0" anchor="t" anchorCtr="0">
            <a:spAutoFit/>
          </a:bodyPr>
          <a:lstStyle>
            <a:lvl1pPr marL="217561" indent="-217561">
              <a:spcBef>
                <a:spcPts val="0"/>
              </a:spcBef>
              <a:buSzPct val="200000"/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sz="1455" b="1" i="0" baseline="3000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3649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r vision | Centre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7638" y="6482886"/>
            <a:ext cx="7575715" cy="111982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 dirty="0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16700" y="577597"/>
            <a:ext cx="5558600" cy="1175806"/>
          </a:xfrm>
        </p:spPr>
        <p:txBody>
          <a:bodyPr lIns="0" tIns="0" rIns="0" bIns="0" anchor="b" anchorCtr="0"/>
          <a:lstStyle>
            <a:lvl1pPr algn="ctr">
              <a:defRPr sz="424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10991343" cy="571182"/>
          </a:xfrm>
        </p:spPr>
        <p:txBody>
          <a:bodyPr/>
          <a:lstStyle>
            <a:lvl1pPr algn="ctr">
              <a:defRPr sz="32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77638" y="5241915"/>
            <a:ext cx="1696672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 dirty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174379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 dirty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743797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 dirty="0">
              <a:latin typeface="Poppins Medium" pitchFamily="2" charset="77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4272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ssion Statement | Left Alig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 dirty="0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0E04318B-A241-43E7-94D4-29E516C89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9848" y="1299878"/>
            <a:ext cx="7334965" cy="453525"/>
          </a:xfrm>
        </p:spPr>
        <p:txBody>
          <a:bodyPr lIns="0" tIns="0" rIns="0" bIns="0" anchor="b" anchorCtr="0"/>
          <a:lstStyle>
            <a:lvl1pPr algn="l">
              <a:defRPr sz="327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234693-3B2F-4AE8-AE43-6003C99CB8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9847" y="2162835"/>
            <a:ext cx="8255334" cy="296171"/>
          </a:xfrm>
        </p:spPr>
        <p:txBody>
          <a:bodyPr/>
          <a:lstStyle>
            <a:lvl1pPr algn="l">
              <a:defRPr sz="16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object 37">
            <a:extLst>
              <a:ext uri="{FF2B5EF4-FFF2-40B4-BE49-F238E27FC236}">
                <a16:creationId xmlns:a16="http://schemas.microsoft.com/office/drawing/2014/main" id="{254656CD-21F4-415A-855F-8FEF936CAD12}"/>
              </a:ext>
            </a:extLst>
          </p:cNvPr>
          <p:cNvSpPr/>
          <p:nvPr userDrawn="1"/>
        </p:nvSpPr>
        <p:spPr>
          <a:xfrm>
            <a:off x="3344643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38">
            <a:extLst>
              <a:ext uri="{FF2B5EF4-FFF2-40B4-BE49-F238E27FC236}">
                <a16:creationId xmlns:a16="http://schemas.microsoft.com/office/drawing/2014/main" id="{5C6A6A71-005C-4561-B24C-20036B336094}"/>
              </a:ext>
            </a:extLst>
          </p:cNvPr>
          <p:cNvSpPr/>
          <p:nvPr userDrawn="1"/>
        </p:nvSpPr>
        <p:spPr>
          <a:xfrm>
            <a:off x="9774588" y="5294061"/>
            <a:ext cx="0" cy="754341"/>
          </a:xfrm>
          <a:custGeom>
            <a:avLst/>
            <a:gdLst/>
            <a:ahLst/>
            <a:cxnLst/>
            <a:rect l="l" t="t" r="r" b="b"/>
            <a:pathLst>
              <a:path h="1243965">
                <a:moveTo>
                  <a:pt x="0" y="0"/>
                </a:moveTo>
                <a:lnTo>
                  <a:pt x="0" y="1243564"/>
                </a:lnTo>
              </a:path>
            </a:pathLst>
          </a:custGeom>
          <a:ln w="962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object 40">
            <a:extLst>
              <a:ext uri="{FF2B5EF4-FFF2-40B4-BE49-F238E27FC236}">
                <a16:creationId xmlns:a16="http://schemas.microsoft.com/office/drawing/2014/main" id="{176FBC2B-5877-478A-BEB4-EDF0B54837C2}"/>
              </a:ext>
            </a:extLst>
          </p:cNvPr>
          <p:cNvSpPr txBox="1"/>
          <p:nvPr userDrawn="1"/>
        </p:nvSpPr>
        <p:spPr>
          <a:xfrm>
            <a:off x="599847" y="5241915"/>
            <a:ext cx="1880668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ssociated</a:t>
            </a:r>
            <a:r>
              <a:rPr sz="1395" b="0" i="0" spc="-61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with</a:t>
            </a:r>
            <a:endParaRPr sz="1395" b="0" i="0" dirty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8" name="object 41">
            <a:extLst>
              <a:ext uri="{FF2B5EF4-FFF2-40B4-BE49-F238E27FC236}">
                <a16:creationId xmlns:a16="http://schemas.microsoft.com/office/drawing/2014/main" id="{F38E41A8-ECE8-47B1-85AB-9824D1D80C00}"/>
              </a:ext>
            </a:extLst>
          </p:cNvPr>
          <p:cNvSpPr txBox="1"/>
          <p:nvPr userDrawn="1"/>
        </p:nvSpPr>
        <p:spPr>
          <a:xfrm>
            <a:off x="3915513" y="5241915"/>
            <a:ext cx="2180486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Supported</a:t>
            </a:r>
            <a:r>
              <a:rPr sz="1395" b="0" i="0" spc="-67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2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by</a:t>
            </a:r>
            <a:endParaRPr sz="1395" b="0" i="0" dirty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19" name="object 42">
            <a:extLst>
              <a:ext uri="{FF2B5EF4-FFF2-40B4-BE49-F238E27FC236}">
                <a16:creationId xmlns:a16="http://schemas.microsoft.com/office/drawing/2014/main" id="{E15DCFC0-DA16-4F9A-B70D-3C33C791B448}"/>
              </a:ext>
            </a:extLst>
          </p:cNvPr>
          <p:cNvSpPr txBox="1"/>
          <p:nvPr userDrawn="1"/>
        </p:nvSpPr>
        <p:spPr>
          <a:xfrm>
            <a:off x="10161465" y="5241915"/>
            <a:ext cx="1459271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lnSpc>
                <a:spcPct val="100000"/>
              </a:lnSpc>
              <a:spcBef>
                <a:spcPts val="64"/>
              </a:spcBef>
            </a:pPr>
            <a:r>
              <a:rPr sz="1395" b="0" i="0" spc="-12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Hosted</a:t>
            </a:r>
            <a:r>
              <a:rPr sz="1395" b="0" i="0" spc="-64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 </a:t>
            </a:r>
            <a:r>
              <a:rPr sz="1395" b="0" i="0" spc="-15" dirty="0">
                <a:solidFill>
                  <a:srgbClr val="FFFFFF"/>
                </a:solidFill>
                <a:latin typeface="Poppins Medium" pitchFamily="2" charset="77"/>
                <a:cs typeface="Poppins Medium" pitchFamily="2" charset="77"/>
              </a:rPr>
              <a:t>at</a:t>
            </a:r>
            <a:endParaRPr sz="1395" b="0" i="0" dirty="0">
              <a:latin typeface="Poppins Medium" pitchFamily="2" charset="77"/>
              <a:cs typeface="Poppins Medium" pitchFamily="2" charset="77"/>
            </a:endParaRPr>
          </a:p>
        </p:txBody>
      </p:sp>
      <p:sp>
        <p:nvSpPr>
          <p:cNvPr id="39" name="object 14">
            <a:extLst>
              <a:ext uri="{FF2B5EF4-FFF2-40B4-BE49-F238E27FC236}">
                <a16:creationId xmlns:a16="http://schemas.microsoft.com/office/drawing/2014/main" id="{EBA520A8-D9DC-4590-A234-60E794F86D19}"/>
              </a:ext>
            </a:extLst>
          </p:cNvPr>
          <p:cNvSpPr/>
          <p:nvPr userDrawn="1"/>
        </p:nvSpPr>
        <p:spPr>
          <a:xfrm>
            <a:off x="577850" y="5000063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</p:spTree>
    <p:extLst>
      <p:ext uri="{BB962C8B-B14F-4D97-AF65-F5344CB8AC3E}">
        <p14:creationId xmlns:p14="http://schemas.microsoft.com/office/powerpoint/2010/main" val="408814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 dirty="0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8007" y="2863649"/>
            <a:ext cx="9195987" cy="1130703"/>
          </a:xfrm>
        </p:spPr>
        <p:txBody>
          <a:bodyPr anchor="ctr"/>
          <a:lstStyle>
            <a:lvl1pPr algn="ctr">
              <a:defRPr sz="4245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9771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/>
              <a:t>Immunization, Vaccines and Biologicals</a:t>
            </a:r>
            <a:endParaRPr lang="en-GB" dirty="0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41ED4F-48C8-405A-BAF4-A471B383C9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7044" y="3681455"/>
            <a:ext cx="9195987" cy="839551"/>
          </a:xfrm>
        </p:spPr>
        <p:txBody>
          <a:bodyPr anchor="ctr"/>
          <a:lstStyle>
            <a:lvl1pPr algn="ctr">
              <a:defRPr sz="2668" b="1" i="0">
                <a:solidFill>
                  <a:schemeClr val="bg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293692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79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gn-off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091CED-6421-441D-89DA-74EF77AD24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GB" dirty="0"/>
              <a:t>Immunization, Vaccines and Biologicals</a:t>
            </a:r>
            <a:endParaRPr lang="en-GB" dirty="0">
              <a:effectLst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1CC4CE6-BB6C-4665-BB0E-0849EB26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object 14">
            <a:extLst>
              <a:ext uri="{FF2B5EF4-FFF2-40B4-BE49-F238E27FC236}">
                <a16:creationId xmlns:a16="http://schemas.microsoft.com/office/drawing/2014/main" id="{E1474A1F-77BF-4F44-91F7-99B672845854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525">
            <a:solidFill>
              <a:schemeClr val="bg1"/>
            </a:solidFill>
          </a:ln>
        </p:spPr>
        <p:txBody>
          <a:bodyPr wrap="square" lIns="0" tIns="0" rIns="0" bIns="0" rtlCol="0"/>
          <a:lstStyle/>
          <a:p>
            <a:endParaRPr sz="1092" dirty="0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C1720A0-FC5D-48B5-9BF5-272126604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22749" y="2900500"/>
            <a:ext cx="4944576" cy="105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0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20172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232604" y="3892949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232604" y="2504718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232604" y="1706563"/>
            <a:ext cx="9726795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E618C277-228A-440C-8255-6AD42DEE4F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9413" y="4961256"/>
            <a:ext cx="4430713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01566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(In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4457304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4900570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5823841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6209599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757BCB-FB2B-4870-A128-1DEDA8180683}"/>
              </a:ext>
            </a:extLst>
          </p:cNvPr>
          <p:cNvSpPr/>
          <p:nvPr userDrawn="1"/>
        </p:nvSpPr>
        <p:spPr>
          <a:xfrm>
            <a:off x="5175631" y="0"/>
            <a:ext cx="7016369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92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7A0B47A-2C2A-47A3-B698-CA6A0FD6F0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56337" y="2220890"/>
            <a:ext cx="2454959" cy="1819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31981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798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A1961CE-39CC-478C-A1C6-073AF8EFFE2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135354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64173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795A65A-ECB4-41D2-AECE-3DFFDD1A978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65B78AD-41BF-4D8D-B0CA-88B61C58E4CB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905405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899507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1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1DD2402-7872-41CE-AAEE-97D58A49507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C708245-A552-4F82-A1F8-0B46ABE4F7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9092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099350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9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C8A9B47-C2D6-4DC4-B29C-FAC1FF1CBED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BA1D45B6-AA15-4E8B-84F7-2E4EF19F4FA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38183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2241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30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1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52CCDF1-1350-4EAA-9712-798FCBA9B4C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9D6BE92-4DEC-4F9C-B801-070713401B68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1638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326196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70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5"/>
            <a:ext cx="2514600" cy="553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7" y="41598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8BA682D-67AF-4BF6-B15A-4C2E92FD465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accent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9E2D09F-7A64-4B40-9FC4-581BD64C805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817F312-2E8A-4D47-9ED7-403DBEE295C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5" y="6488395"/>
            <a:ext cx="1181967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4074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5637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34384AA-70CC-4A36-8980-C20EE09BA3A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5" y="6488395"/>
            <a:ext cx="1181967" cy="360996"/>
          </a:xfrm>
          <a:prstGeom prst="rect">
            <a:avLst/>
          </a:prstGeom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7" y="3659646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5CDBC406-D86A-4232-A1BC-A0C487B812F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051055C4-1B6E-47DB-AD17-B27782D546F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0854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456579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6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9351DA85-660E-4005-BC31-09B1137FAB3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C606DD3-51C3-46A7-A120-0F9889B7510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EA4B8B1-950D-4BE9-B434-85CA73AE548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5" y="6488395"/>
            <a:ext cx="1181967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292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723595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6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06EBBD40-A17E-4AC4-AFFE-B9D052D0A76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FAE829D-7032-46BB-87B6-966882B3DF7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01536E2-4B01-4839-B61A-8A966ECC9B5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5" y="6488395"/>
            <a:ext cx="1181967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7054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96465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800" noProof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7986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41F968F9-C4C2-4AB2-822B-CC6DE7FE42F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FB98F14-45AF-4ABC-91B1-04945664C0F6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AE72860-ED40-4421-B2CF-9088C4543960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5545" y="6488395"/>
            <a:ext cx="1181967" cy="360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52114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4B1DB28-413A-41E9-A6F8-727DE05F8D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0940"/>
            <a:ext cx="3036723" cy="646908"/>
          </a:xfrm>
          <a:prstGeom prst="rect">
            <a:avLst/>
          </a:prstGeom>
        </p:spPr>
      </p:pic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7E02C968-6D90-43B9-83B4-8DDD9D10A2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 dirty="0"/>
              <a:t>Click icon to insert image</a:t>
            </a:r>
          </a:p>
        </p:txBody>
      </p:sp>
    </p:spTree>
    <p:extLst>
      <p:ext uri="{BB962C8B-B14F-4D97-AF65-F5344CB8AC3E}">
        <p14:creationId xmlns:p14="http://schemas.microsoft.com/office/powerpoint/2010/main" val="2886423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617697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2">
            <a:extLst>
              <a:ext uri="{FF2B5EF4-FFF2-40B4-BE49-F238E27FC236}">
                <a16:creationId xmlns:a16="http://schemas.microsoft.com/office/drawing/2014/main" id="{048DC7AE-6179-4351-8133-68A84862E8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3" y="6450015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00"/>
          </a:p>
        </p:txBody>
      </p:sp>
      <p:pic>
        <p:nvPicPr>
          <p:cNvPr id="12" name="Picture 17">
            <a:extLst>
              <a:ext uri="{FF2B5EF4-FFF2-40B4-BE49-F238E27FC236}">
                <a16:creationId xmlns:a16="http://schemas.microsoft.com/office/drawing/2014/main" id="{DD253AE5-E290-44AD-9CEC-ECB61DD0B0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4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3A27D12-7E63-41D1-9643-08F6F9062D6B}"/>
              </a:ext>
            </a:extLst>
          </p:cNvPr>
          <p:cNvCxnSpPr/>
          <p:nvPr userDrawn="1"/>
        </p:nvCxnSpPr>
        <p:spPr>
          <a:xfrm>
            <a:off x="-7620" y="1234437"/>
            <a:ext cx="12206255" cy="0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406524B5-4739-4D58-93CF-EA76FB90DB7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893668" y="660083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B0B0C20-1442-4607-8B15-90F8BDB2DAB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3361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62915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2">
            <a:extLst>
              <a:ext uri="{FF2B5EF4-FFF2-40B4-BE49-F238E27FC236}">
                <a16:creationId xmlns:a16="http://schemas.microsoft.com/office/drawing/2014/main" id="{989E37D3-247E-4B73-A726-336EFE5F059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3" y="6450015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00"/>
          </a:p>
        </p:txBody>
      </p:sp>
      <p:pic>
        <p:nvPicPr>
          <p:cNvPr id="13" name="Picture 17">
            <a:extLst>
              <a:ext uri="{FF2B5EF4-FFF2-40B4-BE49-F238E27FC236}">
                <a16:creationId xmlns:a16="http://schemas.microsoft.com/office/drawing/2014/main" id="{DB4EAA56-1D2C-453A-A498-5120FB26F0A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4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5207D841-96AD-4CCA-85BE-245C7048655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6226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87472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1974B0-473E-4554-A92F-9807F1E87F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162426" y="2838451"/>
            <a:ext cx="3867151" cy="118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1860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165CFF-74EF-4709-A119-F6C84086F1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305F8D-ACDC-4D1F-A2C2-6E0DBE2405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3C7577-A74A-49A5-9436-B42DC77F0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4893E3-DF60-41A1-A76F-713DC5AE22EB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CF03CA11-8326-4726-BEC9-66AB9AA19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7E730-E876-418C-B1DC-62D83D9EA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D2CC3-9BB7-41AC-98F7-2967221EBA9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36801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E0FBF2-E897-4568-A2AB-A109FF203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BCD29-ACD6-4444-B490-FAB2FC21AE87}" type="datetime1">
              <a:rPr lang="en-GB" smtClean="0"/>
              <a:t>20/09/2022</a:t>
            </a:fld>
            <a:endParaRPr lang="en-GB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AA8B0BFF-4BD2-4D06-9179-54C0F619B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1D583D-95B1-412C-8D00-10BC279EE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2263DA-D8A8-4DE8-902D-35E1D00E6E8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34399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A931E1-7FC2-4DBD-9F66-3D1575A3F79C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5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48164107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167802BA-8623-48AE-9924-9F5F6790139C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1384995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1384995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5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80001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05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55532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Intro large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 bwMode="invGray">
          <a:noFill/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AD0CC27D-0020-48D4-9B6C-9E6EA0640D93}" type="datetime1">
              <a:rPr lang="en-GB" noProof="0" smtClean="0"/>
              <a:t>20/09/2022</a:t>
            </a:fld>
            <a:endParaRPr lang="en-GB" noProof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 bwMode="invGray"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3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6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5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 bwMode="invGray">
          <a:xfrm>
            <a:off x="480000" y="1800000"/>
            <a:ext cx="11226365" cy="380169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050" b="1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110000"/>
              </a:lnSpc>
              <a:defRPr sz="1050">
                <a:solidFill>
                  <a:schemeClr val="bg2"/>
                </a:solidFill>
                <a:latin typeface="+mn-lt"/>
              </a:defRPr>
            </a:lvl2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990352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355FEC3-5583-C34A-9063-E3CD2BB54C22}" type="datetime1">
              <a:rPr lang="en-US" noProof="0" smtClean="0"/>
              <a:t>9/20/2022</a:t>
            </a:fld>
            <a:endParaRPr lang="en-GB" noProof="0"/>
          </a:p>
        </p:txBody>
      </p:sp>
      <p:sp>
        <p:nvSpPr>
          <p:cNvPr id="4" name="Footer Placeholder 3" hidden="1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80000" y="6293653"/>
            <a:ext cx="11226365" cy="208579"/>
          </a:xfrm>
        </p:spPr>
        <p:txBody>
          <a:bodyPr anchor="t">
            <a:normAutofit/>
          </a:bodyPr>
          <a:lstStyle>
            <a:lvl1pPr>
              <a:defRPr sz="6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80485" y="1188005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80992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288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(External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8059CA9-ADD3-48DF-ABCE-675068DD8B2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175632" y="0"/>
            <a:ext cx="7016369" cy="6858000"/>
          </a:xfrm>
          <a:solidFill>
            <a:schemeClr val="bg2"/>
          </a:solidFill>
        </p:spPr>
        <p:txBody>
          <a:bodyPr bIns="1764000" anchor="ctr">
            <a:noAutofit/>
          </a:bodyPr>
          <a:lstStyle>
            <a:lvl1pPr algn="ctr">
              <a:defRPr sz="2183" b="1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7C3F02-BFC9-4851-B86C-F7936BFADF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065" y="577597"/>
            <a:ext cx="3981728" cy="911403"/>
          </a:xfrm>
        </p:spPr>
        <p:txBody>
          <a:bodyPr lIns="0" tIns="0" rIns="0" bIns="0" anchor="t" anchorCtr="0"/>
          <a:lstStyle>
            <a:lvl1pPr algn="l">
              <a:defRPr sz="327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78B6177-2783-4098-BD2C-28AFA3C48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065" y="3128516"/>
            <a:ext cx="3981728" cy="300484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698" b="1" i="0">
                <a:solidFill>
                  <a:schemeClr val="tx1"/>
                </a:solidFill>
                <a:latin typeface="Poppins SemiBold" pitchFamily="2" charset="77"/>
                <a:cs typeface="Poppins SemiBold" pitchFamily="2" charset="77"/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C077D63-B658-4C45-A03B-49151498BF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9719" y="357178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BE71421F-4A0D-486D-878F-BE455BE2BF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9719" y="4495053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DCCFA8EA-DF1B-4AA2-A3F2-E0E98F4B0F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9719" y="4880812"/>
            <a:ext cx="3706507" cy="2537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1B92ED-1DA4-42D5-94F1-A383F50976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395" y="5756444"/>
            <a:ext cx="750929" cy="55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19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88750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6999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22315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10363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76785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758258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92998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49678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63D28E-A044-4A27-8E65-0B05919B75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896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63D28E-A044-4A27-8E65-0B05919B7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5409223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7536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90D3C3D-29CE-4901-8EEA-1345D268697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75632" y="0"/>
            <a:ext cx="7016368" cy="6857998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anchor="ctr" anchorCtr="0">
            <a:noAutofit/>
          </a:bodyPr>
          <a:lstStyle>
            <a:lvl1pPr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3911A5-606B-49B4-916C-45BA4954DF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4CFDB7-1FD8-48B9-B71F-E3DCBDCCD5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object 14">
            <a:extLst>
              <a:ext uri="{FF2B5EF4-FFF2-40B4-BE49-F238E27FC236}">
                <a16:creationId xmlns:a16="http://schemas.microsoft.com/office/drawing/2014/main" id="{E8D1215B-902F-4676-BD97-07AB236AAB96}"/>
              </a:ext>
            </a:extLst>
          </p:cNvPr>
          <p:cNvSpPr/>
          <p:nvPr userDrawn="1"/>
        </p:nvSpPr>
        <p:spPr>
          <a:xfrm>
            <a:off x="581978" y="6397848"/>
            <a:ext cx="4011676" cy="44087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DC27864-4735-40D0-B2CD-C35B135AB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7638" y="2948731"/>
            <a:ext cx="4164766" cy="1769202"/>
          </a:xfrm>
        </p:spPr>
        <p:txBody>
          <a:bodyPr lIns="0" tIns="0" rIns="0" bIns="0" anchor="t" anchorCtr="0"/>
          <a:lstStyle>
            <a:lvl1pPr algn="l">
              <a:defRPr sz="4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39426BB5-24C1-4CC6-9847-26D952ABD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1978" y="2436028"/>
            <a:ext cx="4164766" cy="338362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940">
                <a:solidFill>
                  <a:schemeClr val="accent1"/>
                </a:solidFill>
              </a:defRPr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3621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26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91249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7415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73219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290787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31088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3245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0778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76677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71265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63D28E-A044-4A27-8E65-0B05919B75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008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63D28E-A044-4A27-8E65-0B05919B7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303836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13" Type="http://schemas.openxmlformats.org/officeDocument/2006/relationships/slideLayout" Target="../slideLayouts/slideLayout195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85.xml"/><Relationship Id="rId21" Type="http://schemas.openxmlformats.org/officeDocument/2006/relationships/image" Target="../media/image41.emf"/><Relationship Id="rId7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4.xml"/><Relationship Id="rId17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84.xml"/><Relationship Id="rId16" Type="http://schemas.openxmlformats.org/officeDocument/2006/relationships/slideLayout" Target="../slideLayouts/slideLayout198.xml"/><Relationship Id="rId20" Type="http://schemas.openxmlformats.org/officeDocument/2006/relationships/oleObject" Target="../embeddings/oleObject77.bin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87.xml"/><Relationship Id="rId15" Type="http://schemas.openxmlformats.org/officeDocument/2006/relationships/slideLayout" Target="../slideLayouts/slideLayout197.xml"/><Relationship Id="rId23" Type="http://schemas.openxmlformats.org/officeDocument/2006/relationships/image" Target="../media/image43.png"/><Relationship Id="rId10" Type="http://schemas.openxmlformats.org/officeDocument/2006/relationships/slideLayout" Target="../slideLayouts/slideLayout192.xml"/><Relationship Id="rId19" Type="http://schemas.openxmlformats.org/officeDocument/2006/relationships/tags" Target="../tags/tag406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Relationship Id="rId14" Type="http://schemas.openxmlformats.org/officeDocument/2006/relationships/slideLayout" Target="../slideLayouts/slideLayout196.xml"/><Relationship Id="rId22" Type="http://schemas.openxmlformats.org/officeDocument/2006/relationships/image" Target="../media/image4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212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202.xml"/><Relationship Id="rId21" Type="http://schemas.openxmlformats.org/officeDocument/2006/relationships/image" Target="../media/image41.emf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01.xml"/><Relationship Id="rId16" Type="http://schemas.openxmlformats.org/officeDocument/2006/relationships/slideLayout" Target="../slideLayouts/slideLayout215.xml"/><Relationship Id="rId20" Type="http://schemas.openxmlformats.org/officeDocument/2006/relationships/oleObject" Target="../embeddings/oleObject80.bin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214.xml"/><Relationship Id="rId23" Type="http://schemas.openxmlformats.org/officeDocument/2006/relationships/image" Target="../media/image43.png"/><Relationship Id="rId10" Type="http://schemas.openxmlformats.org/officeDocument/2006/relationships/slideLayout" Target="../slideLayouts/slideLayout209.xml"/><Relationship Id="rId19" Type="http://schemas.openxmlformats.org/officeDocument/2006/relationships/tags" Target="../tags/tag4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Relationship Id="rId22" Type="http://schemas.openxmlformats.org/officeDocument/2006/relationships/image" Target="../media/image42.png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9.xml"/><Relationship Id="rId18" Type="http://schemas.openxmlformats.org/officeDocument/2006/relationships/tags" Target="../tags/tag412.xml"/><Relationship Id="rId26" Type="http://schemas.openxmlformats.org/officeDocument/2006/relationships/tags" Target="../tags/tag420.xml"/><Relationship Id="rId39" Type="http://schemas.openxmlformats.org/officeDocument/2006/relationships/image" Target="../media/image21.emf"/><Relationship Id="rId21" Type="http://schemas.openxmlformats.org/officeDocument/2006/relationships/tags" Target="../tags/tag415.xml"/><Relationship Id="rId34" Type="http://schemas.openxmlformats.org/officeDocument/2006/relationships/tags" Target="../tags/tag428.xml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theme" Target="../theme/theme12.xml"/><Relationship Id="rId25" Type="http://schemas.openxmlformats.org/officeDocument/2006/relationships/tags" Target="../tags/tag419.xml"/><Relationship Id="rId33" Type="http://schemas.openxmlformats.org/officeDocument/2006/relationships/tags" Target="../tags/tag427.xml"/><Relationship Id="rId38" Type="http://schemas.openxmlformats.org/officeDocument/2006/relationships/oleObject" Target="../embeddings/oleObject83.bin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tags" Target="../tags/tag414.xml"/><Relationship Id="rId29" Type="http://schemas.openxmlformats.org/officeDocument/2006/relationships/tags" Target="../tags/tag423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tags" Target="../tags/tag418.xml"/><Relationship Id="rId32" Type="http://schemas.openxmlformats.org/officeDocument/2006/relationships/tags" Target="../tags/tag426.xml"/><Relationship Id="rId37" Type="http://schemas.openxmlformats.org/officeDocument/2006/relationships/tags" Target="../tags/tag431.xml"/><Relationship Id="rId40" Type="http://schemas.openxmlformats.org/officeDocument/2006/relationships/image" Target="../media/image22.wmf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tags" Target="../tags/tag417.xml"/><Relationship Id="rId28" Type="http://schemas.openxmlformats.org/officeDocument/2006/relationships/tags" Target="../tags/tag422.xml"/><Relationship Id="rId36" Type="http://schemas.openxmlformats.org/officeDocument/2006/relationships/tags" Target="../tags/tag430.xml"/><Relationship Id="rId10" Type="http://schemas.openxmlformats.org/officeDocument/2006/relationships/slideLayout" Target="../slideLayouts/slideLayout226.xml"/><Relationship Id="rId19" Type="http://schemas.openxmlformats.org/officeDocument/2006/relationships/tags" Target="../tags/tag413.xml"/><Relationship Id="rId31" Type="http://schemas.openxmlformats.org/officeDocument/2006/relationships/tags" Target="../tags/tag425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tags" Target="../tags/tag416.xml"/><Relationship Id="rId27" Type="http://schemas.openxmlformats.org/officeDocument/2006/relationships/tags" Target="../tags/tag421.xml"/><Relationship Id="rId30" Type="http://schemas.openxmlformats.org/officeDocument/2006/relationships/tags" Target="../tags/tag424.xml"/><Relationship Id="rId35" Type="http://schemas.openxmlformats.org/officeDocument/2006/relationships/tags" Target="../tags/tag429.xml"/><Relationship Id="rId8" Type="http://schemas.openxmlformats.org/officeDocument/2006/relationships/slideLayout" Target="../slideLayouts/slideLayout224.xml"/><Relationship Id="rId3" Type="http://schemas.openxmlformats.org/officeDocument/2006/relationships/slideLayout" Target="../slideLayouts/slideLayout219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523.xml"/><Relationship Id="rId13" Type="http://schemas.openxmlformats.org/officeDocument/2006/relationships/tags" Target="../tags/tag528.xml"/><Relationship Id="rId18" Type="http://schemas.openxmlformats.org/officeDocument/2006/relationships/tags" Target="../tags/tag533.xml"/><Relationship Id="rId26" Type="http://schemas.openxmlformats.org/officeDocument/2006/relationships/oleObject" Target="../embeddings/oleObject98.bin"/><Relationship Id="rId3" Type="http://schemas.openxmlformats.org/officeDocument/2006/relationships/slideLayout" Target="../slideLayouts/slideLayout235.xml"/><Relationship Id="rId21" Type="http://schemas.openxmlformats.org/officeDocument/2006/relationships/tags" Target="../tags/tag536.xml"/><Relationship Id="rId7" Type="http://schemas.openxmlformats.org/officeDocument/2006/relationships/tags" Target="../tags/tag522.xml"/><Relationship Id="rId12" Type="http://schemas.openxmlformats.org/officeDocument/2006/relationships/tags" Target="../tags/tag527.xml"/><Relationship Id="rId17" Type="http://schemas.openxmlformats.org/officeDocument/2006/relationships/tags" Target="../tags/tag532.xml"/><Relationship Id="rId25" Type="http://schemas.openxmlformats.org/officeDocument/2006/relationships/tags" Target="../tags/tag540.xml"/><Relationship Id="rId2" Type="http://schemas.openxmlformats.org/officeDocument/2006/relationships/slideLayout" Target="../slideLayouts/slideLayout234.xml"/><Relationship Id="rId16" Type="http://schemas.openxmlformats.org/officeDocument/2006/relationships/tags" Target="../tags/tag531.xml"/><Relationship Id="rId20" Type="http://schemas.openxmlformats.org/officeDocument/2006/relationships/tags" Target="../tags/tag535.xml"/><Relationship Id="rId1" Type="http://schemas.openxmlformats.org/officeDocument/2006/relationships/slideLayout" Target="../slideLayouts/slideLayout233.xml"/><Relationship Id="rId6" Type="http://schemas.openxmlformats.org/officeDocument/2006/relationships/tags" Target="../tags/tag521.xml"/><Relationship Id="rId11" Type="http://schemas.openxmlformats.org/officeDocument/2006/relationships/tags" Target="../tags/tag526.xml"/><Relationship Id="rId24" Type="http://schemas.openxmlformats.org/officeDocument/2006/relationships/tags" Target="../tags/tag539.xml"/><Relationship Id="rId5" Type="http://schemas.openxmlformats.org/officeDocument/2006/relationships/theme" Target="../theme/theme13.xml"/><Relationship Id="rId15" Type="http://schemas.openxmlformats.org/officeDocument/2006/relationships/tags" Target="../tags/tag530.xml"/><Relationship Id="rId23" Type="http://schemas.openxmlformats.org/officeDocument/2006/relationships/tags" Target="../tags/tag538.xml"/><Relationship Id="rId28" Type="http://schemas.openxmlformats.org/officeDocument/2006/relationships/image" Target="../media/image22.wmf"/><Relationship Id="rId10" Type="http://schemas.openxmlformats.org/officeDocument/2006/relationships/tags" Target="../tags/tag525.xml"/><Relationship Id="rId19" Type="http://schemas.openxmlformats.org/officeDocument/2006/relationships/tags" Target="../tags/tag534.xml"/><Relationship Id="rId4" Type="http://schemas.openxmlformats.org/officeDocument/2006/relationships/slideLayout" Target="../slideLayouts/slideLayout236.xml"/><Relationship Id="rId9" Type="http://schemas.openxmlformats.org/officeDocument/2006/relationships/tags" Target="../tags/tag524.xml"/><Relationship Id="rId14" Type="http://schemas.openxmlformats.org/officeDocument/2006/relationships/tags" Target="../tags/tag529.xml"/><Relationship Id="rId22" Type="http://schemas.openxmlformats.org/officeDocument/2006/relationships/tags" Target="../tags/tag537.xml"/><Relationship Id="rId27" Type="http://schemas.openxmlformats.org/officeDocument/2006/relationships/image" Target="../media/image2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13" Type="http://schemas.openxmlformats.org/officeDocument/2006/relationships/tags" Target="../tags/tag563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1.xml"/><Relationship Id="rId15" Type="http://schemas.openxmlformats.org/officeDocument/2006/relationships/image" Target="../media/image26.emf"/><Relationship Id="rId10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4" Type="http://schemas.openxmlformats.org/officeDocument/2006/relationships/oleObject" Target="../embeddings/oleObject103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569.xml"/><Relationship Id="rId13" Type="http://schemas.openxmlformats.org/officeDocument/2006/relationships/tags" Target="../tags/tag574.xml"/><Relationship Id="rId18" Type="http://schemas.openxmlformats.org/officeDocument/2006/relationships/tags" Target="../tags/tag579.xml"/><Relationship Id="rId3" Type="http://schemas.openxmlformats.org/officeDocument/2006/relationships/theme" Target="../theme/theme15.xml"/><Relationship Id="rId21" Type="http://schemas.openxmlformats.org/officeDocument/2006/relationships/tags" Target="../tags/tag582.xml"/><Relationship Id="rId7" Type="http://schemas.openxmlformats.org/officeDocument/2006/relationships/tags" Target="../tags/tag568.xml"/><Relationship Id="rId12" Type="http://schemas.openxmlformats.org/officeDocument/2006/relationships/tags" Target="../tags/tag573.xml"/><Relationship Id="rId17" Type="http://schemas.openxmlformats.org/officeDocument/2006/relationships/tags" Target="../tags/tag578.xml"/><Relationship Id="rId25" Type="http://schemas.openxmlformats.org/officeDocument/2006/relationships/image" Target="../media/image21.emf"/><Relationship Id="rId2" Type="http://schemas.openxmlformats.org/officeDocument/2006/relationships/slideLayout" Target="../slideLayouts/slideLayout249.xml"/><Relationship Id="rId16" Type="http://schemas.openxmlformats.org/officeDocument/2006/relationships/tags" Target="../tags/tag577.xml"/><Relationship Id="rId20" Type="http://schemas.openxmlformats.org/officeDocument/2006/relationships/tags" Target="../tags/tag581.xml"/><Relationship Id="rId1" Type="http://schemas.openxmlformats.org/officeDocument/2006/relationships/slideLayout" Target="../slideLayouts/slideLayout248.xml"/><Relationship Id="rId6" Type="http://schemas.openxmlformats.org/officeDocument/2006/relationships/tags" Target="../tags/tag567.xml"/><Relationship Id="rId11" Type="http://schemas.openxmlformats.org/officeDocument/2006/relationships/tags" Target="../tags/tag572.xml"/><Relationship Id="rId24" Type="http://schemas.openxmlformats.org/officeDocument/2006/relationships/oleObject" Target="../embeddings/oleObject105.bin"/><Relationship Id="rId5" Type="http://schemas.openxmlformats.org/officeDocument/2006/relationships/tags" Target="../tags/tag566.xml"/><Relationship Id="rId15" Type="http://schemas.openxmlformats.org/officeDocument/2006/relationships/tags" Target="../tags/tag576.xml"/><Relationship Id="rId23" Type="http://schemas.openxmlformats.org/officeDocument/2006/relationships/tags" Target="../tags/tag584.xml"/><Relationship Id="rId10" Type="http://schemas.openxmlformats.org/officeDocument/2006/relationships/tags" Target="../tags/tag571.xml"/><Relationship Id="rId19" Type="http://schemas.openxmlformats.org/officeDocument/2006/relationships/tags" Target="../tags/tag580.xml"/><Relationship Id="rId4" Type="http://schemas.openxmlformats.org/officeDocument/2006/relationships/tags" Target="../tags/tag565.xml"/><Relationship Id="rId9" Type="http://schemas.openxmlformats.org/officeDocument/2006/relationships/tags" Target="../tags/tag570.xml"/><Relationship Id="rId14" Type="http://schemas.openxmlformats.org/officeDocument/2006/relationships/tags" Target="../tags/tag575.xml"/><Relationship Id="rId22" Type="http://schemas.openxmlformats.org/officeDocument/2006/relationships/tags" Target="../tags/tag58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601.xml"/><Relationship Id="rId13" Type="http://schemas.openxmlformats.org/officeDocument/2006/relationships/tags" Target="../tags/tag606.xml"/><Relationship Id="rId18" Type="http://schemas.openxmlformats.org/officeDocument/2006/relationships/tags" Target="../tags/tag611.xml"/><Relationship Id="rId3" Type="http://schemas.openxmlformats.org/officeDocument/2006/relationships/theme" Target="../theme/theme16.xml"/><Relationship Id="rId21" Type="http://schemas.openxmlformats.org/officeDocument/2006/relationships/tags" Target="../tags/tag614.xml"/><Relationship Id="rId7" Type="http://schemas.openxmlformats.org/officeDocument/2006/relationships/tags" Target="../tags/tag600.xml"/><Relationship Id="rId12" Type="http://schemas.openxmlformats.org/officeDocument/2006/relationships/tags" Target="../tags/tag605.xml"/><Relationship Id="rId17" Type="http://schemas.openxmlformats.org/officeDocument/2006/relationships/tags" Target="../tags/tag610.xml"/><Relationship Id="rId25" Type="http://schemas.openxmlformats.org/officeDocument/2006/relationships/image" Target="../media/image21.emf"/><Relationship Id="rId2" Type="http://schemas.openxmlformats.org/officeDocument/2006/relationships/slideLayout" Target="../slideLayouts/slideLayout251.xml"/><Relationship Id="rId16" Type="http://schemas.openxmlformats.org/officeDocument/2006/relationships/tags" Target="../tags/tag609.xml"/><Relationship Id="rId20" Type="http://schemas.openxmlformats.org/officeDocument/2006/relationships/tags" Target="../tags/tag613.xml"/><Relationship Id="rId1" Type="http://schemas.openxmlformats.org/officeDocument/2006/relationships/slideLayout" Target="../slideLayouts/slideLayout250.xml"/><Relationship Id="rId6" Type="http://schemas.openxmlformats.org/officeDocument/2006/relationships/tags" Target="../tags/tag599.xml"/><Relationship Id="rId11" Type="http://schemas.openxmlformats.org/officeDocument/2006/relationships/tags" Target="../tags/tag604.xml"/><Relationship Id="rId24" Type="http://schemas.openxmlformats.org/officeDocument/2006/relationships/oleObject" Target="../embeddings/oleObject108.bin"/><Relationship Id="rId5" Type="http://schemas.openxmlformats.org/officeDocument/2006/relationships/tags" Target="../tags/tag598.xml"/><Relationship Id="rId15" Type="http://schemas.openxmlformats.org/officeDocument/2006/relationships/tags" Target="../tags/tag608.xml"/><Relationship Id="rId23" Type="http://schemas.openxmlformats.org/officeDocument/2006/relationships/tags" Target="../tags/tag616.xml"/><Relationship Id="rId10" Type="http://schemas.openxmlformats.org/officeDocument/2006/relationships/tags" Target="../tags/tag603.xml"/><Relationship Id="rId19" Type="http://schemas.openxmlformats.org/officeDocument/2006/relationships/tags" Target="../tags/tag612.xml"/><Relationship Id="rId4" Type="http://schemas.openxmlformats.org/officeDocument/2006/relationships/tags" Target="../tags/tag597.xml"/><Relationship Id="rId9" Type="http://schemas.openxmlformats.org/officeDocument/2006/relationships/tags" Target="../tags/tag602.xml"/><Relationship Id="rId14" Type="http://schemas.openxmlformats.org/officeDocument/2006/relationships/tags" Target="../tags/tag607.xml"/><Relationship Id="rId22" Type="http://schemas.openxmlformats.org/officeDocument/2006/relationships/tags" Target="../tags/tag615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tags" Target="../tags/tag5.xml"/><Relationship Id="rId39" Type="http://schemas.openxmlformats.org/officeDocument/2006/relationships/tags" Target="../tags/tag18.xml"/><Relationship Id="rId21" Type="http://schemas.openxmlformats.org/officeDocument/2006/relationships/theme" Target="../theme/theme2.xml"/><Relationship Id="rId34" Type="http://schemas.openxmlformats.org/officeDocument/2006/relationships/tags" Target="../tags/tag13.xml"/><Relationship Id="rId42" Type="http://schemas.openxmlformats.org/officeDocument/2006/relationships/tags" Target="../tags/tag2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9" Type="http://schemas.openxmlformats.org/officeDocument/2006/relationships/tags" Target="../tags/tag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tags" Target="../tags/tag3.xml"/><Relationship Id="rId32" Type="http://schemas.openxmlformats.org/officeDocument/2006/relationships/tags" Target="../tags/tag11.xml"/><Relationship Id="rId37" Type="http://schemas.openxmlformats.org/officeDocument/2006/relationships/tags" Target="../tags/tag16.xml"/><Relationship Id="rId40" Type="http://schemas.openxmlformats.org/officeDocument/2006/relationships/tags" Target="../tags/tag19.xml"/><Relationship Id="rId45" Type="http://schemas.openxmlformats.org/officeDocument/2006/relationships/image" Target="../media/image22.wmf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tags" Target="../tags/tag2.xml"/><Relationship Id="rId28" Type="http://schemas.openxmlformats.org/officeDocument/2006/relationships/tags" Target="../tags/tag7.xml"/><Relationship Id="rId36" Type="http://schemas.openxmlformats.org/officeDocument/2006/relationships/tags" Target="../tags/tag15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ags" Target="../tags/tag10.xml"/><Relationship Id="rId44" Type="http://schemas.openxmlformats.org/officeDocument/2006/relationships/image" Target="../media/image21.emf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tags" Target="../tags/tag1.xml"/><Relationship Id="rId27" Type="http://schemas.openxmlformats.org/officeDocument/2006/relationships/tags" Target="../tags/tag6.xml"/><Relationship Id="rId30" Type="http://schemas.openxmlformats.org/officeDocument/2006/relationships/tags" Target="../tags/tag9.xml"/><Relationship Id="rId35" Type="http://schemas.openxmlformats.org/officeDocument/2006/relationships/tags" Target="../tags/tag14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tags" Target="../tags/tag4.xml"/><Relationship Id="rId33" Type="http://schemas.openxmlformats.org/officeDocument/2006/relationships/tags" Target="../tags/tag12.xml"/><Relationship Id="rId38" Type="http://schemas.openxmlformats.org/officeDocument/2006/relationships/tags" Target="../tags/tag17.xml"/><Relationship Id="rId20" Type="http://schemas.openxmlformats.org/officeDocument/2006/relationships/slideLayout" Target="../slideLayouts/slideLayout78.xml"/><Relationship Id="rId41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tags" Target="../tags/tag111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image" Target="../media/image26.emf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oleObject" Target="../embeddings/oleObject1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tags" Target="../tags/tag113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image" Target="../media/image26.emf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oleObject" Target="../embeddings/oleObject18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tags" Target="../tags/tag115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26.emf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oleObject" Target="../embeddings/oleObject20.bin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theme" Target="../theme/theme6.xml"/><Relationship Id="rId26" Type="http://schemas.openxmlformats.org/officeDocument/2006/relationships/tags" Target="../tags/tag124.xml"/><Relationship Id="rId39" Type="http://schemas.openxmlformats.org/officeDocument/2006/relationships/tags" Target="../tags/tag137.xml"/><Relationship Id="rId21" Type="http://schemas.openxmlformats.org/officeDocument/2006/relationships/tags" Target="../tags/tag119.xml"/><Relationship Id="rId34" Type="http://schemas.openxmlformats.org/officeDocument/2006/relationships/tags" Target="../tags/tag132.xml"/><Relationship Id="rId42" Type="http://schemas.openxmlformats.org/officeDocument/2006/relationships/image" Target="../media/image27.png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tags" Target="../tags/tag118.xml"/><Relationship Id="rId29" Type="http://schemas.openxmlformats.org/officeDocument/2006/relationships/tags" Target="../tags/tag127.xml"/><Relationship Id="rId41" Type="http://schemas.openxmlformats.org/officeDocument/2006/relationships/image" Target="../media/image25.emf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tags" Target="../tags/tag135.xml"/><Relationship Id="rId40" Type="http://schemas.openxmlformats.org/officeDocument/2006/relationships/oleObject" Target="../embeddings/oleObject22.bin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tags" Target="../tags/tag134.xml"/><Relationship Id="rId10" Type="http://schemas.openxmlformats.org/officeDocument/2006/relationships/slideLayout" Target="../slideLayouts/slideLayout121.xml"/><Relationship Id="rId19" Type="http://schemas.openxmlformats.org/officeDocument/2006/relationships/tags" Target="../tags/tag117.xml"/><Relationship Id="rId31" Type="http://schemas.openxmlformats.org/officeDocument/2006/relationships/tags" Target="../tags/tag129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tags" Target="../tags/tag133.xml"/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38" Type="http://schemas.openxmlformats.org/officeDocument/2006/relationships/tags" Target="../tags/tag13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tags" Target="../tags/tag254.xml"/><Relationship Id="rId39" Type="http://schemas.openxmlformats.org/officeDocument/2006/relationships/tags" Target="../tags/tag267.xml"/><Relationship Id="rId21" Type="http://schemas.openxmlformats.org/officeDocument/2006/relationships/tags" Target="../tags/tag249.xml"/><Relationship Id="rId34" Type="http://schemas.openxmlformats.org/officeDocument/2006/relationships/tags" Target="../tags/tag262.xml"/><Relationship Id="rId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tags" Target="../tags/tag248.xml"/><Relationship Id="rId29" Type="http://schemas.openxmlformats.org/officeDocument/2006/relationships/tags" Target="../tags/tag257.xml"/><Relationship Id="rId41" Type="http://schemas.openxmlformats.org/officeDocument/2006/relationships/image" Target="../media/image21.emf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tags" Target="../tags/tag252.xml"/><Relationship Id="rId32" Type="http://schemas.openxmlformats.org/officeDocument/2006/relationships/tags" Target="../tags/tag260.xml"/><Relationship Id="rId37" Type="http://schemas.openxmlformats.org/officeDocument/2006/relationships/tags" Target="../tags/tag265.xml"/><Relationship Id="rId40" Type="http://schemas.openxmlformats.org/officeDocument/2006/relationships/oleObject" Target="../embeddings/oleObject40.bin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tags" Target="../tags/tag251.xml"/><Relationship Id="rId28" Type="http://schemas.openxmlformats.org/officeDocument/2006/relationships/tags" Target="../tags/tag256.xml"/><Relationship Id="rId36" Type="http://schemas.openxmlformats.org/officeDocument/2006/relationships/tags" Target="../tags/tag264.xml"/><Relationship Id="rId10" Type="http://schemas.openxmlformats.org/officeDocument/2006/relationships/slideLayout" Target="../slideLayouts/slideLayout138.xml"/><Relationship Id="rId19" Type="http://schemas.openxmlformats.org/officeDocument/2006/relationships/theme" Target="../theme/theme7.xml"/><Relationship Id="rId31" Type="http://schemas.openxmlformats.org/officeDocument/2006/relationships/tags" Target="../tags/tag259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tags" Target="../tags/tag250.xml"/><Relationship Id="rId27" Type="http://schemas.openxmlformats.org/officeDocument/2006/relationships/tags" Target="../tags/tag255.xml"/><Relationship Id="rId30" Type="http://schemas.openxmlformats.org/officeDocument/2006/relationships/tags" Target="../tags/tag258.xml"/><Relationship Id="rId35" Type="http://schemas.openxmlformats.org/officeDocument/2006/relationships/tags" Target="../tags/tag263.xml"/><Relationship Id="rId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tags" Target="../tags/tag253.xml"/><Relationship Id="rId33" Type="http://schemas.openxmlformats.org/officeDocument/2006/relationships/tags" Target="../tags/tag261.xml"/><Relationship Id="rId38" Type="http://schemas.openxmlformats.org/officeDocument/2006/relationships/tags" Target="../tags/tag26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49.xml"/><Relationship Id="rId21" Type="http://schemas.openxmlformats.org/officeDocument/2006/relationships/oleObject" Target="../embeddings/oleObject59.bin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tags" Target="../tags/tag365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10" Type="http://schemas.openxmlformats.org/officeDocument/2006/relationships/slideLayout" Target="../slideLayouts/slideLayout156.xml"/><Relationship Id="rId19" Type="http://schemas.openxmlformats.org/officeDocument/2006/relationships/tags" Target="../tags/tag364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image" Target="../media/image23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82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9D9051C-C807-46F9-8511-7BA810EF2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8" y="537197"/>
            <a:ext cx="5693037" cy="414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5905-8E0F-4E1F-969B-102428583B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638" y="1551583"/>
            <a:ext cx="10775825" cy="15642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E7121D-1697-409F-80BF-51B7EAFBB2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7638" y="6482886"/>
            <a:ext cx="7575715" cy="11201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7701">
              <a:spcBef>
                <a:spcPts val="76"/>
              </a:spcBef>
            </a:pPr>
            <a:r>
              <a:rPr lang="en-GB" spc="3"/>
              <a:t>Immunization, Vaccines and Biologicals</a:t>
            </a:r>
            <a:endParaRPr lang="en-GB" spc="3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226665-F903-468B-9EDC-63D86E71F6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93993" y="6482886"/>
            <a:ext cx="897196" cy="11198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728">
                <a:solidFill>
                  <a:schemeClr val="tx1">
                    <a:tint val="75000"/>
                  </a:schemeClr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E2E31AFC-DF42-41A5-B57C-06A83BBA661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020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554492" rtl="0" eaLnBrk="1" latinLnBrk="0" hangingPunct="1">
        <a:lnSpc>
          <a:spcPct val="90000"/>
        </a:lnSpc>
        <a:spcBef>
          <a:spcPct val="0"/>
        </a:spcBef>
        <a:buNone/>
        <a:defRPr sz="2911" b="1" i="0" kern="1200">
          <a:solidFill>
            <a:schemeClr val="tx1"/>
          </a:solidFill>
          <a:latin typeface="Poppins SemiBold" pitchFamily="2" charset="77"/>
          <a:ea typeface="Roboto" panose="02000000000000000000" pitchFamily="2" charset="0"/>
          <a:cs typeface="Poppins SemiBold" pitchFamily="2" charset="77"/>
        </a:defRPr>
      </a:lvl1pPr>
    </p:titleStyle>
    <p:bodyStyle>
      <a:lvl1pPr marL="0" indent="0" algn="l" defTabSz="554492" rtl="0" eaLnBrk="1" latinLnBrk="0" hangingPunct="1">
        <a:lnSpc>
          <a:spcPct val="120000"/>
        </a:lnSpc>
        <a:spcBef>
          <a:spcPts val="606"/>
        </a:spcBef>
        <a:spcAft>
          <a:spcPts val="728"/>
        </a:spcAft>
        <a:buSzPct val="75000"/>
        <a:buFontTx/>
        <a:buNone/>
        <a:defRPr sz="1455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1pPr>
      <a:lvl2pPr marL="480269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213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2pPr>
      <a:lvl3pPr marL="698573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1092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3pPr>
      <a:lvl4pPr marL="916877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4pPr>
      <a:lvl5pPr marL="1135181" indent="-174643" algn="l" defTabSz="554492" rtl="0" eaLnBrk="1" latinLnBrk="0" hangingPunct="1">
        <a:lnSpc>
          <a:spcPct val="120000"/>
        </a:lnSpc>
        <a:spcBef>
          <a:spcPts val="303"/>
        </a:spcBef>
        <a:spcAft>
          <a:spcPts val="728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sz="970" kern="1200">
          <a:solidFill>
            <a:schemeClr val="tx1"/>
          </a:solidFill>
          <a:latin typeface="Poppins" pitchFamily="2" charset="77"/>
          <a:ea typeface="Roboto" panose="02000000000000000000" pitchFamily="2" charset="0"/>
          <a:cs typeface="Poppins" pitchFamily="2" charset="77"/>
        </a:defRPr>
      </a:lvl5pPr>
      <a:lvl6pPr marL="1524853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802100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2079346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356592" indent="-138623" algn="l" defTabSz="554492" rtl="0" eaLnBrk="1" latinLnBrk="0" hangingPunct="1">
        <a:lnSpc>
          <a:spcPct val="90000"/>
        </a:lnSpc>
        <a:spcBef>
          <a:spcPts val="303"/>
        </a:spcBef>
        <a:buFont typeface="Arial" panose="020B0604020202020204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1pPr>
      <a:lvl2pPr marL="27724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2pPr>
      <a:lvl3pPr marL="554492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3pPr>
      <a:lvl4pPr marL="831738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4pPr>
      <a:lvl5pPr marL="1108984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5pPr>
      <a:lvl6pPr marL="1386230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63476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940723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217969" algn="l" defTabSz="554492" rtl="0" eaLnBrk="1" latinLnBrk="0" hangingPunct="1"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1D1D1D"/>
          </p15:clr>
        </p15:guide>
        <p15:guide id="2" pos="12664">
          <p15:clr>
            <a:srgbClr val="1D1D1D"/>
          </p15:clr>
        </p15:guide>
        <p15:guide id="3" pos="600">
          <p15:clr>
            <a:srgbClr val="1D1D1D"/>
          </p15:clr>
        </p15:guide>
        <p15:guide id="4" pos="1555">
          <p15:clr>
            <a:srgbClr val="1D1D1D"/>
          </p15:clr>
        </p15:guide>
        <p15:guide id="5" pos="2510">
          <p15:clr>
            <a:srgbClr val="1D1D1D"/>
          </p15:clr>
        </p15:guide>
        <p15:guide id="6" pos="3466">
          <p15:clr>
            <a:srgbClr val="1D1D1D"/>
          </p15:clr>
        </p15:guide>
        <p15:guide id="7" pos="4421">
          <p15:clr>
            <a:srgbClr val="1D1D1D"/>
          </p15:clr>
        </p15:guide>
        <p15:guide id="8" pos="5376">
          <p15:clr>
            <a:srgbClr val="1D1D1D"/>
          </p15:clr>
        </p15:guide>
        <p15:guide id="9" pos="6332">
          <p15:clr>
            <a:srgbClr val="1D1D1D"/>
          </p15:clr>
        </p15:guide>
        <p15:guide id="10" pos="7287">
          <p15:clr>
            <a:srgbClr val="1D1D1D"/>
          </p15:clr>
        </p15:guide>
        <p15:guide id="11" pos="8242">
          <p15:clr>
            <a:srgbClr val="1D1D1D"/>
          </p15:clr>
        </p15:guide>
        <p15:guide id="12" pos="9198">
          <p15:clr>
            <a:srgbClr val="1D1D1D"/>
          </p15:clr>
        </p15:guide>
        <p15:guide id="13" pos="10153">
          <p15:clr>
            <a:srgbClr val="1D1D1D"/>
          </p15:clr>
        </p15:guide>
        <p15:guide id="14" pos="11108">
          <p15:clr>
            <a:srgbClr val="1D1D1D"/>
          </p15:clr>
        </p15:guide>
        <p15:guide id="15" pos="12064">
          <p15:clr>
            <a:srgbClr val="1D1D1D"/>
          </p15:clr>
        </p15:guide>
        <p15:guide id="16" orient="horz">
          <p15:clr>
            <a:srgbClr val="1D1D1D"/>
          </p15:clr>
        </p15:guide>
        <p15:guide id="17" orient="horz" pos="7124">
          <p15:clr>
            <a:srgbClr val="1D1D1D"/>
          </p15:clr>
        </p15:guide>
        <p15:guide id="18" orient="horz" pos="600">
          <p15:clr>
            <a:srgbClr val="1D1D1D"/>
          </p15:clr>
        </p15:guide>
        <p15:guide id="19" orient="horz" pos="3562">
          <p15:clr>
            <a:srgbClr val="1D1D1D"/>
          </p15:clr>
        </p15:guide>
        <p15:guide id="20" orient="horz" pos="6524">
          <p15:clr>
            <a:srgbClr val="1D1D1D"/>
          </p15:clr>
        </p15:guide>
        <p15:guide id="21" pos="6786">
          <p15:clr>
            <a:srgbClr val="1D1D1D"/>
          </p15:clr>
        </p15:guide>
        <p15:guide id="22" pos="5878">
          <p15:clr>
            <a:srgbClr val="1D1D1D"/>
          </p15:clr>
        </p15:guide>
        <p15:guide id="23" orient="horz" pos="3018">
          <p15:clr>
            <a:srgbClr val="1D1D1D"/>
          </p15:clr>
        </p15:guide>
        <p15:guide id="24" orient="horz" pos="6646">
          <p15:clr>
            <a:srgbClr val="1D1D1D"/>
          </p15:clr>
        </p15:guide>
        <p15:guide id="25" orient="horz" pos="2836">
          <p15:clr>
            <a:srgbClr val="1D1D1D"/>
          </p15:clr>
        </p15:guide>
        <p15:guide id="26" orient="horz" pos="6283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16E12B-2B0B-47AB-A23B-7E9F36658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7709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3" imgH="476" progId="TCLayout.ActiveDocument.1">
                  <p:embed/>
                </p:oleObj>
              </mc:Choice>
              <mc:Fallback>
                <p:oleObj name="think-cell Slide" r:id="rId20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B16E12B-2B0B-47AB-A23B-7E9F36658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7686227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480000" y="1800000"/>
            <a:ext cx="11232001" cy="4237200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invGray">
          <a:xfrm>
            <a:off x="480000" y="6580588"/>
            <a:ext cx="79000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CB2A9C5F-569E-41BE-B5E5-7CBFE1B687B2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invGray">
          <a:xfrm>
            <a:off x="1392992" y="6580588"/>
            <a:ext cx="2264608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invGray">
          <a:xfrm>
            <a:off x="11416433" y="6580588"/>
            <a:ext cx="28993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 bwMode="invGray">
          <a:xfrm>
            <a:off x="9735601" y="2128187"/>
            <a:ext cx="1976400" cy="694800"/>
          </a:xfrm>
          <a:prstGeom prst="rect">
            <a:avLst/>
          </a:prstGeom>
          <a:blipFill dpi="0" rotWithShape="1"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AB2E229-96B5-4341-9068-8E1AC7E387D3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6341" y="342382"/>
            <a:ext cx="3190023" cy="100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303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spcAft>
          <a:spcPts val="600"/>
        </a:spcAft>
        <a:buClr>
          <a:schemeClr val="tx1"/>
        </a:buClr>
        <a:buSzPct val="80000"/>
        <a:buFontTx/>
        <a:buNone/>
        <a:defRPr sz="1400" b="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1pPr>
      <a:lvl2pPr marL="466725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27087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79513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tabLst>
          <a:tab pos="1074738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358775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062163" indent="-358775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1">
          <p15:clr>
            <a:srgbClr val="F26B43"/>
          </p15:clr>
        </p15:guide>
        <p15:guide id="2" orient="horz" pos="3809">
          <p15:clr>
            <a:srgbClr val="F26B43"/>
          </p15:clr>
        </p15:guide>
        <p15:guide id="3" pos="3840">
          <p15:clr>
            <a:srgbClr val="F26B43"/>
          </p15:clr>
        </p15:guide>
        <p15:guide id="4" pos="302">
          <p15:clr>
            <a:srgbClr val="F26B43"/>
          </p15:clr>
        </p15:guide>
        <p15:guide id="5" pos="7379">
          <p15:clr>
            <a:srgbClr val="F26B43"/>
          </p15:clr>
        </p15:guide>
        <p15:guide id="6" pos="3761">
          <p15:clr>
            <a:srgbClr val="F26B43"/>
          </p15:clr>
        </p15:guide>
        <p15:guide id="7" pos="3919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16E12B-2B0B-47AB-A23B-7E9F36658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946609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3" imgH="476" progId="TCLayout.ActiveDocument.1">
                  <p:embed/>
                </p:oleObj>
              </mc:Choice>
              <mc:Fallback>
                <p:oleObj name="think-cell Slide" r:id="rId20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B16E12B-2B0B-47AB-A23B-7E9F36658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7686227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480000" y="1800000"/>
            <a:ext cx="11232001" cy="4237200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invGray">
          <a:xfrm>
            <a:off x="480000" y="6580588"/>
            <a:ext cx="79000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CB2A9C5F-569E-41BE-B5E5-7CBFE1B687B2}" type="datetime1">
              <a:rPr lang="en-GB" smtClean="0"/>
              <a:pPr/>
              <a:t>20/09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invGray">
          <a:xfrm>
            <a:off x="1392992" y="6580588"/>
            <a:ext cx="2264608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invGray">
          <a:xfrm>
            <a:off x="11416433" y="6580588"/>
            <a:ext cx="28993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 bwMode="invGray">
          <a:xfrm>
            <a:off x="9735601" y="2128187"/>
            <a:ext cx="1976400" cy="694800"/>
          </a:xfrm>
          <a:prstGeom prst="rect">
            <a:avLst/>
          </a:prstGeom>
          <a:blipFill dpi="0" rotWithShape="1"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AB2E229-96B5-4341-9068-8E1AC7E387D3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6341" y="342382"/>
            <a:ext cx="3190023" cy="100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757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  <p:sldLayoutId id="2147483982" r:id="rId16"/>
    <p:sldLayoutId id="2147483983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spcAft>
          <a:spcPts val="600"/>
        </a:spcAft>
        <a:buClr>
          <a:schemeClr val="tx1"/>
        </a:buClr>
        <a:buSzPct val="80000"/>
        <a:buFontTx/>
        <a:buNone/>
        <a:defRPr sz="1400" b="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1pPr>
      <a:lvl2pPr marL="466725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27087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79513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tabLst>
          <a:tab pos="1074738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358775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062163" indent="-358775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1">
          <p15:clr>
            <a:srgbClr val="F26B43"/>
          </p15:clr>
        </p15:guide>
        <p15:guide id="2" orient="horz" pos="3809">
          <p15:clr>
            <a:srgbClr val="F26B43"/>
          </p15:clr>
        </p15:guide>
        <p15:guide id="3" pos="3840">
          <p15:clr>
            <a:srgbClr val="F26B43"/>
          </p15:clr>
        </p15:guide>
        <p15:guide id="4" pos="302">
          <p15:clr>
            <a:srgbClr val="F26B43"/>
          </p15:clr>
        </p15:guide>
        <p15:guide id="5" pos="7379">
          <p15:clr>
            <a:srgbClr val="F26B43"/>
          </p15:clr>
        </p15:guide>
        <p15:guide id="6" pos="3761">
          <p15:clr>
            <a:srgbClr val="F26B43"/>
          </p15:clr>
        </p15:guide>
        <p15:guide id="7" pos="391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26549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2">
            <a:extLst>
              <a:ext uri="{FF2B5EF4-FFF2-40B4-BE49-F238E27FC236}">
                <a16:creationId xmlns:a16="http://schemas.microsoft.com/office/drawing/2014/main" id="{995DEE4D-DE68-4D88-892E-A824D28BAD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152" name="Picture 17">
            <a:extLst>
              <a:ext uri="{FF2B5EF4-FFF2-40B4-BE49-F238E27FC236}">
                <a16:creationId xmlns:a16="http://schemas.microsoft.com/office/drawing/2014/main" id="{21E2EAA5-B57A-4298-86E2-F46FEDB28F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5023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3" name="LegendLines" hidden="1">
            <a:extLst>
              <a:ext uri="{FF2B5EF4-FFF2-40B4-BE49-F238E27FC236}">
                <a16:creationId xmlns:a16="http://schemas.microsoft.com/office/drawing/2014/main" id="{824664CA-9CBA-4BC2-AEEE-EB680CBAC85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4" name="Legend1">
              <a:extLst>
                <a:ext uri="{FF2B5EF4-FFF2-40B4-BE49-F238E27FC236}">
                  <a16:creationId xmlns:a16="http://schemas.microsoft.com/office/drawing/2014/main" id="{50866770-7E78-4B98-AE5C-FC36613ACEE3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5" name="Legend2">
              <a:extLst>
                <a:ext uri="{FF2B5EF4-FFF2-40B4-BE49-F238E27FC236}">
                  <a16:creationId xmlns:a16="http://schemas.microsoft.com/office/drawing/2014/main" id="{60800198-ACA8-4569-B19F-EDC2AA39573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6" name="Legend3">
              <a:extLst>
                <a:ext uri="{FF2B5EF4-FFF2-40B4-BE49-F238E27FC236}">
                  <a16:creationId xmlns:a16="http://schemas.microsoft.com/office/drawing/2014/main" id="{1AD78493-2F46-4D78-B490-9CB3A59F0F2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7" name="LineLegend3">
              <a:extLst>
                <a:ext uri="{FF2B5EF4-FFF2-40B4-BE49-F238E27FC236}">
                  <a16:creationId xmlns:a16="http://schemas.microsoft.com/office/drawing/2014/main" id="{D78428E7-1031-4525-958D-2AEC82E576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8" name="LineLegend2">
              <a:extLst>
                <a:ext uri="{FF2B5EF4-FFF2-40B4-BE49-F238E27FC236}">
                  <a16:creationId xmlns:a16="http://schemas.microsoft.com/office/drawing/2014/main" id="{32960FFE-A946-4DC5-A896-73EC6891F6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9" name="LineLegend1">
              <a:extLst>
                <a:ext uri="{FF2B5EF4-FFF2-40B4-BE49-F238E27FC236}">
                  <a16:creationId xmlns:a16="http://schemas.microsoft.com/office/drawing/2014/main" id="{2D89AC4B-3F7B-414E-BBC9-753E2DCD022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60" name="LegendMoons" hidden="1">
            <a:extLst>
              <a:ext uri="{FF2B5EF4-FFF2-40B4-BE49-F238E27FC236}">
                <a16:creationId xmlns:a16="http://schemas.microsoft.com/office/drawing/2014/main" id="{1C2C0F83-8077-434A-80BF-DC74551C0FE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61" name="Legend1">
              <a:extLst>
                <a:ext uri="{FF2B5EF4-FFF2-40B4-BE49-F238E27FC236}">
                  <a16:creationId xmlns:a16="http://schemas.microsoft.com/office/drawing/2014/main" id="{60EC90F2-C3D6-4A1E-A522-2B0084B9AE3B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2" name="Legend2">
              <a:extLst>
                <a:ext uri="{FF2B5EF4-FFF2-40B4-BE49-F238E27FC236}">
                  <a16:creationId xmlns:a16="http://schemas.microsoft.com/office/drawing/2014/main" id="{608623A6-B3C2-40FD-9974-313B9899F29B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3" name="Legend3">
              <a:extLst>
                <a:ext uri="{FF2B5EF4-FFF2-40B4-BE49-F238E27FC236}">
                  <a16:creationId xmlns:a16="http://schemas.microsoft.com/office/drawing/2014/main" id="{079CB4EB-D6E1-4D96-95B5-5BA83C6B2D1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4" name="Legend4">
              <a:extLst>
                <a:ext uri="{FF2B5EF4-FFF2-40B4-BE49-F238E27FC236}">
                  <a16:creationId xmlns:a16="http://schemas.microsoft.com/office/drawing/2014/main" id="{2D239807-0A7B-4680-A18C-E70D41EBB90E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5" name="Legend5">
              <a:extLst>
                <a:ext uri="{FF2B5EF4-FFF2-40B4-BE49-F238E27FC236}">
                  <a16:creationId xmlns:a16="http://schemas.microsoft.com/office/drawing/2014/main" id="{31B15AEC-CBEB-4DC7-8CBE-55C046CC45A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66" name="MoonLegend1">
              <a:extLst>
                <a:ext uri="{FF2B5EF4-FFF2-40B4-BE49-F238E27FC236}">
                  <a16:creationId xmlns:a16="http://schemas.microsoft.com/office/drawing/2014/main" id="{AE632BB1-F875-4D92-8B2F-237708A0CA6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E7BB0302-2398-47BF-BAA0-1F7D6CFFC74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Arc 190">
                <a:extLst>
                  <a:ext uri="{FF2B5EF4-FFF2-40B4-BE49-F238E27FC236}">
                    <a16:creationId xmlns:a16="http://schemas.microsoft.com/office/drawing/2014/main" id="{1EC76811-ECA2-4449-B4B1-696BEA5678D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7" name="MoonLegend2">
              <a:extLst>
                <a:ext uri="{FF2B5EF4-FFF2-40B4-BE49-F238E27FC236}">
                  <a16:creationId xmlns:a16="http://schemas.microsoft.com/office/drawing/2014/main" id="{B3BB233A-1F5C-412E-96A0-C1B1668CF844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77312EB-258E-4A3B-AF67-2E3390F5E0F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Arc 188">
                <a:extLst>
                  <a:ext uri="{FF2B5EF4-FFF2-40B4-BE49-F238E27FC236}">
                    <a16:creationId xmlns:a16="http://schemas.microsoft.com/office/drawing/2014/main" id="{AE4A3AA3-1575-43DC-A2FC-75F17D4920A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68" name="MoonLegend3">
              <a:extLst>
                <a:ext uri="{FF2B5EF4-FFF2-40B4-BE49-F238E27FC236}">
                  <a16:creationId xmlns:a16="http://schemas.microsoft.com/office/drawing/2014/main" id="{245259AB-784C-44BE-BC51-53B81C3C604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63530634-CB58-4B0E-8669-BD58DE6E7C8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7" name="Arc 186">
                <a:extLst>
                  <a:ext uri="{FF2B5EF4-FFF2-40B4-BE49-F238E27FC236}">
                    <a16:creationId xmlns:a16="http://schemas.microsoft.com/office/drawing/2014/main" id="{570FB72B-45DC-46A5-BB9A-8BDC5E58FAC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79" name="MoonLegend4">
              <a:extLst>
                <a:ext uri="{FF2B5EF4-FFF2-40B4-BE49-F238E27FC236}">
                  <a16:creationId xmlns:a16="http://schemas.microsoft.com/office/drawing/2014/main" id="{FBF435B8-807F-4D16-841C-6025441A19C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8DCCA69E-B122-4D78-8DCB-61D80D85E58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4" name="Arc 183">
                <a:extLst>
                  <a:ext uri="{FF2B5EF4-FFF2-40B4-BE49-F238E27FC236}">
                    <a16:creationId xmlns:a16="http://schemas.microsoft.com/office/drawing/2014/main" id="{EBD6A758-DCE6-4ECA-8A27-B8158F3FA9C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180" name="MoonLegend5">
              <a:extLst>
                <a:ext uri="{FF2B5EF4-FFF2-40B4-BE49-F238E27FC236}">
                  <a16:creationId xmlns:a16="http://schemas.microsoft.com/office/drawing/2014/main" id="{5495CBB2-1285-426E-A323-C51AA6A7256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0CD67488-479D-480B-BA77-F62D0CD5292A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2" name="Arc 181">
                <a:extLst>
                  <a:ext uri="{FF2B5EF4-FFF2-40B4-BE49-F238E27FC236}">
                    <a16:creationId xmlns:a16="http://schemas.microsoft.com/office/drawing/2014/main" id="{6DE8F7C9-C68D-4169-8A18-D9ECEB28889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192" name="LegendBoxes" hidden="1">
            <a:extLst>
              <a:ext uri="{FF2B5EF4-FFF2-40B4-BE49-F238E27FC236}">
                <a16:creationId xmlns:a16="http://schemas.microsoft.com/office/drawing/2014/main" id="{B155AAC0-1705-4D70-B770-11BF11451495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93" name="RectangleLegend1">
              <a:extLst>
                <a:ext uri="{FF2B5EF4-FFF2-40B4-BE49-F238E27FC236}">
                  <a16:creationId xmlns:a16="http://schemas.microsoft.com/office/drawing/2014/main" id="{86FC8069-537A-4597-9DA1-F1C857D7B76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tangleLegend2">
              <a:extLst>
                <a:ext uri="{FF2B5EF4-FFF2-40B4-BE49-F238E27FC236}">
                  <a16:creationId xmlns:a16="http://schemas.microsoft.com/office/drawing/2014/main" id="{2502BF71-FDE8-4313-A13C-3FD87E6904DA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3">
              <a:extLst>
                <a:ext uri="{FF2B5EF4-FFF2-40B4-BE49-F238E27FC236}">
                  <a16:creationId xmlns:a16="http://schemas.microsoft.com/office/drawing/2014/main" id="{AAAC8C7F-D65F-4555-A58C-AE9E3B6D701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4">
              <a:extLst>
                <a:ext uri="{FF2B5EF4-FFF2-40B4-BE49-F238E27FC236}">
                  <a16:creationId xmlns:a16="http://schemas.microsoft.com/office/drawing/2014/main" id="{A3594C7D-CFDB-4980-848D-11EA3BFC98E8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5">
              <a:extLst>
                <a:ext uri="{FF2B5EF4-FFF2-40B4-BE49-F238E27FC236}">
                  <a16:creationId xmlns:a16="http://schemas.microsoft.com/office/drawing/2014/main" id="{27D659C1-FA2F-4455-88B1-C3AAAC688F1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7" name="Legend1">
              <a:extLst>
                <a:ext uri="{FF2B5EF4-FFF2-40B4-BE49-F238E27FC236}">
                  <a16:creationId xmlns:a16="http://schemas.microsoft.com/office/drawing/2014/main" id="{DD68C5FB-28D3-4635-BB70-CDC92FE3C38A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8" name="Legend2">
              <a:extLst>
                <a:ext uri="{FF2B5EF4-FFF2-40B4-BE49-F238E27FC236}">
                  <a16:creationId xmlns:a16="http://schemas.microsoft.com/office/drawing/2014/main" id="{0F1454F8-83B7-4593-9440-E5FFBC024CAB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9" name="Legend3">
              <a:extLst>
                <a:ext uri="{FF2B5EF4-FFF2-40B4-BE49-F238E27FC236}">
                  <a16:creationId xmlns:a16="http://schemas.microsoft.com/office/drawing/2014/main" id="{939A538E-F8F2-4DC4-AB07-DB4B55953C03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30" name="Legend4">
              <a:extLst>
                <a:ext uri="{FF2B5EF4-FFF2-40B4-BE49-F238E27FC236}">
                  <a16:creationId xmlns:a16="http://schemas.microsoft.com/office/drawing/2014/main" id="{8D10687F-B099-467B-8A36-F9E9168AE45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31" name="Legend5">
              <a:extLst>
                <a:ext uri="{FF2B5EF4-FFF2-40B4-BE49-F238E27FC236}">
                  <a16:creationId xmlns:a16="http://schemas.microsoft.com/office/drawing/2014/main" id="{B548876E-830B-4B02-86BE-66E2E18A68BF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F6FFE83-1A24-49A9-A905-1B582A31325C}"/>
              </a:ext>
            </a:extLst>
          </p:cNvPr>
          <p:cNvCxnSpPr/>
          <p:nvPr userDrawn="1"/>
        </p:nvCxnSpPr>
        <p:spPr>
          <a:xfrm>
            <a:off x="-7620" y="960118"/>
            <a:ext cx="12206254" cy="0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9693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  <p:sldLayoutId id="2147483997" r:id="rId13"/>
    <p:sldLayoutId id="2147483998" r:id="rId14"/>
    <p:sldLayoutId id="2147483999" r:id="rId15"/>
    <p:sldLayoutId id="2147484000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15073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13" imgH="416" progId="TCLayout.ActiveDocument.1">
                  <p:embed/>
                </p:oleObj>
              </mc:Choice>
              <mc:Fallback>
                <p:oleObj name="think-cell Slide" r:id="rId2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2">
            <a:extLst>
              <a:ext uri="{FF2B5EF4-FFF2-40B4-BE49-F238E27FC236}">
                <a16:creationId xmlns:a16="http://schemas.microsoft.com/office/drawing/2014/main" id="{995DEE4D-DE68-4D88-892E-A824D28BAD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4" y="6450014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52" name="Picture 17">
            <a:extLst>
              <a:ext uri="{FF2B5EF4-FFF2-40B4-BE49-F238E27FC236}">
                <a16:creationId xmlns:a16="http://schemas.microsoft.com/office/drawing/2014/main" id="{21E2EAA5-B57A-4298-86E2-F46FEDB28F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3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5023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3" name="LegendLines" hidden="1">
            <a:extLst>
              <a:ext uri="{FF2B5EF4-FFF2-40B4-BE49-F238E27FC236}">
                <a16:creationId xmlns:a16="http://schemas.microsoft.com/office/drawing/2014/main" id="{824664CA-9CBA-4BC2-AEEE-EB680CBAC85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54" name="Legend1">
              <a:extLst>
                <a:ext uri="{FF2B5EF4-FFF2-40B4-BE49-F238E27FC236}">
                  <a16:creationId xmlns:a16="http://schemas.microsoft.com/office/drawing/2014/main" id="{50866770-7E78-4B98-AE5C-FC36613ACEE3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55" name="Legend2">
              <a:extLst>
                <a:ext uri="{FF2B5EF4-FFF2-40B4-BE49-F238E27FC236}">
                  <a16:creationId xmlns:a16="http://schemas.microsoft.com/office/drawing/2014/main" id="{60800198-ACA8-4569-B19F-EDC2AA39573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6" name="Legend3">
              <a:extLst>
                <a:ext uri="{FF2B5EF4-FFF2-40B4-BE49-F238E27FC236}">
                  <a16:creationId xmlns:a16="http://schemas.microsoft.com/office/drawing/2014/main" id="{1AD78493-2F46-4D78-B490-9CB3A59F0F2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7" name="LineLegend3">
              <a:extLst>
                <a:ext uri="{FF2B5EF4-FFF2-40B4-BE49-F238E27FC236}">
                  <a16:creationId xmlns:a16="http://schemas.microsoft.com/office/drawing/2014/main" id="{D78428E7-1031-4525-958D-2AEC82E576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8" name="LineLegend2">
              <a:extLst>
                <a:ext uri="{FF2B5EF4-FFF2-40B4-BE49-F238E27FC236}">
                  <a16:creationId xmlns:a16="http://schemas.microsoft.com/office/drawing/2014/main" id="{32960FFE-A946-4DC5-A896-73EC6891F6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59" name="LineLegend1">
              <a:extLst>
                <a:ext uri="{FF2B5EF4-FFF2-40B4-BE49-F238E27FC236}">
                  <a16:creationId xmlns:a16="http://schemas.microsoft.com/office/drawing/2014/main" id="{2D89AC4B-3F7B-414E-BBC9-753E2DCD022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60" name="LegendMoons" hidden="1">
            <a:extLst>
              <a:ext uri="{FF2B5EF4-FFF2-40B4-BE49-F238E27FC236}">
                <a16:creationId xmlns:a16="http://schemas.microsoft.com/office/drawing/2014/main" id="{1C2C0F83-8077-434A-80BF-DC74551C0FE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61" name="Legend1">
              <a:extLst>
                <a:ext uri="{FF2B5EF4-FFF2-40B4-BE49-F238E27FC236}">
                  <a16:creationId xmlns:a16="http://schemas.microsoft.com/office/drawing/2014/main" id="{60EC90F2-C3D6-4A1E-A522-2B0084B9AE3B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2" name="Legend2">
              <a:extLst>
                <a:ext uri="{FF2B5EF4-FFF2-40B4-BE49-F238E27FC236}">
                  <a16:creationId xmlns:a16="http://schemas.microsoft.com/office/drawing/2014/main" id="{608623A6-B3C2-40FD-9974-313B9899F29B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3" name="Legend3">
              <a:extLst>
                <a:ext uri="{FF2B5EF4-FFF2-40B4-BE49-F238E27FC236}">
                  <a16:creationId xmlns:a16="http://schemas.microsoft.com/office/drawing/2014/main" id="{079CB4EB-D6E1-4D96-95B5-5BA83C6B2D1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4" name="Legend4">
              <a:extLst>
                <a:ext uri="{FF2B5EF4-FFF2-40B4-BE49-F238E27FC236}">
                  <a16:creationId xmlns:a16="http://schemas.microsoft.com/office/drawing/2014/main" id="{2D239807-0A7B-4680-A18C-E70D41EBB90E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65" name="Legend5">
              <a:extLst>
                <a:ext uri="{FF2B5EF4-FFF2-40B4-BE49-F238E27FC236}">
                  <a16:creationId xmlns:a16="http://schemas.microsoft.com/office/drawing/2014/main" id="{31B15AEC-CBEB-4DC7-8CBE-55C046CC45AC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166" name="MoonLegend1">
              <a:extLst>
                <a:ext uri="{FF2B5EF4-FFF2-40B4-BE49-F238E27FC236}">
                  <a16:creationId xmlns:a16="http://schemas.microsoft.com/office/drawing/2014/main" id="{AE632BB1-F875-4D92-8B2F-237708A0CA61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E7BB0302-2398-47BF-BAA0-1F7D6CFFC747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Arc 190">
                <a:extLst>
                  <a:ext uri="{FF2B5EF4-FFF2-40B4-BE49-F238E27FC236}">
                    <a16:creationId xmlns:a16="http://schemas.microsoft.com/office/drawing/2014/main" id="{1EC76811-ECA2-4449-B4B1-696BEA5678D4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7" name="MoonLegend2">
              <a:extLst>
                <a:ext uri="{FF2B5EF4-FFF2-40B4-BE49-F238E27FC236}">
                  <a16:creationId xmlns:a16="http://schemas.microsoft.com/office/drawing/2014/main" id="{B3BB233A-1F5C-412E-96A0-C1B1668CF84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77312EB-258E-4A3B-AF67-2E3390F5E0F9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Arc 188">
                <a:extLst>
                  <a:ext uri="{FF2B5EF4-FFF2-40B4-BE49-F238E27FC236}">
                    <a16:creationId xmlns:a16="http://schemas.microsoft.com/office/drawing/2014/main" id="{AE4A3AA3-1575-43DC-A2FC-75F17D4920A0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8" name="MoonLegend3">
              <a:extLst>
                <a:ext uri="{FF2B5EF4-FFF2-40B4-BE49-F238E27FC236}">
                  <a16:creationId xmlns:a16="http://schemas.microsoft.com/office/drawing/2014/main" id="{245259AB-784C-44BE-BC51-53B81C3C604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63530634-CB58-4B0E-8669-BD58DE6E7C85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7" name="Arc 186">
                <a:extLst>
                  <a:ext uri="{FF2B5EF4-FFF2-40B4-BE49-F238E27FC236}">
                    <a16:creationId xmlns:a16="http://schemas.microsoft.com/office/drawing/2014/main" id="{570FB72B-45DC-46A5-BB9A-8BDC5E58FACA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79" name="MoonLegend4">
              <a:extLst>
                <a:ext uri="{FF2B5EF4-FFF2-40B4-BE49-F238E27FC236}">
                  <a16:creationId xmlns:a16="http://schemas.microsoft.com/office/drawing/2014/main" id="{FBF435B8-807F-4D16-841C-6025441A19CE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8DCCA69E-B122-4D78-8DCB-61D80D85E588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4" name="Arc 183">
                <a:extLst>
                  <a:ext uri="{FF2B5EF4-FFF2-40B4-BE49-F238E27FC236}">
                    <a16:creationId xmlns:a16="http://schemas.microsoft.com/office/drawing/2014/main" id="{EBD6A758-DCE6-4ECA-8A27-B8158F3FA9C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0" name="MoonLegend5">
              <a:extLst>
                <a:ext uri="{FF2B5EF4-FFF2-40B4-BE49-F238E27FC236}">
                  <a16:creationId xmlns:a16="http://schemas.microsoft.com/office/drawing/2014/main" id="{5495CBB2-1285-426E-A323-C51AA6A72569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0CD67488-479D-480B-BA77-F62D0CD5292A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2" name="Arc 181">
                <a:extLst>
                  <a:ext uri="{FF2B5EF4-FFF2-40B4-BE49-F238E27FC236}">
                    <a16:creationId xmlns:a16="http://schemas.microsoft.com/office/drawing/2014/main" id="{6DE8F7C9-C68D-4169-8A18-D9ECEB288892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92" name="LegendBoxes" hidden="1">
            <a:extLst>
              <a:ext uri="{FF2B5EF4-FFF2-40B4-BE49-F238E27FC236}">
                <a16:creationId xmlns:a16="http://schemas.microsoft.com/office/drawing/2014/main" id="{B155AAC0-1705-4D70-B770-11BF11451495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193" name="RectangleLegend1">
              <a:extLst>
                <a:ext uri="{FF2B5EF4-FFF2-40B4-BE49-F238E27FC236}">
                  <a16:creationId xmlns:a16="http://schemas.microsoft.com/office/drawing/2014/main" id="{86FC8069-537A-4597-9DA1-F1C857D7B76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4" name="RectangleLegend2">
              <a:extLst>
                <a:ext uri="{FF2B5EF4-FFF2-40B4-BE49-F238E27FC236}">
                  <a16:creationId xmlns:a16="http://schemas.microsoft.com/office/drawing/2014/main" id="{2502BF71-FDE8-4313-A13C-3FD87E6904DA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3">
              <a:extLst>
                <a:ext uri="{FF2B5EF4-FFF2-40B4-BE49-F238E27FC236}">
                  <a16:creationId xmlns:a16="http://schemas.microsoft.com/office/drawing/2014/main" id="{AAAC8C7F-D65F-4555-A58C-AE9E3B6D701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4">
              <a:extLst>
                <a:ext uri="{FF2B5EF4-FFF2-40B4-BE49-F238E27FC236}">
                  <a16:creationId xmlns:a16="http://schemas.microsoft.com/office/drawing/2014/main" id="{A3594C7D-CFDB-4980-848D-11EA3BFC98E8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5">
              <a:extLst>
                <a:ext uri="{FF2B5EF4-FFF2-40B4-BE49-F238E27FC236}">
                  <a16:creationId xmlns:a16="http://schemas.microsoft.com/office/drawing/2014/main" id="{27D659C1-FA2F-4455-88B1-C3AAAC688F1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7" name="Legend1">
              <a:extLst>
                <a:ext uri="{FF2B5EF4-FFF2-40B4-BE49-F238E27FC236}">
                  <a16:creationId xmlns:a16="http://schemas.microsoft.com/office/drawing/2014/main" id="{DD68C5FB-28D3-4635-BB70-CDC92FE3C38A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8" name="Legend2">
              <a:extLst>
                <a:ext uri="{FF2B5EF4-FFF2-40B4-BE49-F238E27FC236}">
                  <a16:creationId xmlns:a16="http://schemas.microsoft.com/office/drawing/2014/main" id="{0F1454F8-83B7-4593-9440-E5FFBC024CAB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9" name="Legend3">
              <a:extLst>
                <a:ext uri="{FF2B5EF4-FFF2-40B4-BE49-F238E27FC236}">
                  <a16:creationId xmlns:a16="http://schemas.microsoft.com/office/drawing/2014/main" id="{939A538E-F8F2-4DC4-AB07-DB4B55953C03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30" name="Legend4">
              <a:extLst>
                <a:ext uri="{FF2B5EF4-FFF2-40B4-BE49-F238E27FC236}">
                  <a16:creationId xmlns:a16="http://schemas.microsoft.com/office/drawing/2014/main" id="{8D10687F-B099-467B-8A36-F9E9168AE45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31" name="Legend5">
              <a:extLst>
                <a:ext uri="{FF2B5EF4-FFF2-40B4-BE49-F238E27FC236}">
                  <a16:creationId xmlns:a16="http://schemas.microsoft.com/office/drawing/2014/main" id="{B548876E-830B-4B02-86BE-66E2E18A68BF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F6FFE83-1A24-49A9-A905-1B582A31325C}"/>
              </a:ext>
            </a:extLst>
          </p:cNvPr>
          <p:cNvCxnSpPr/>
          <p:nvPr userDrawn="1"/>
        </p:nvCxnSpPr>
        <p:spPr>
          <a:xfrm>
            <a:off x="-7620" y="960118"/>
            <a:ext cx="12206254" cy="0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598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420728B-E510-48BE-B648-CD6FA3664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56501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4" imgH="344" progId="TCLayout.ActiveDocument.1">
                  <p:embed/>
                </p:oleObj>
              </mc:Choice>
              <mc:Fallback>
                <p:oleObj name="think-cell Slide" r:id="rId14" imgW="344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420728B-E510-48BE-B648-CD6FA3664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82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20713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3" imgH="416" progId="TCLayout.ActiveDocument.1">
                  <p:embed/>
                </p:oleObj>
              </mc:Choice>
              <mc:Fallback>
                <p:oleObj name="think-cell Slide" r:id="rId2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987738" y="1872797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872797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ED72A14-997E-43A1-8277-64E43B8C35F3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9B15371-13C6-4FC5-A65B-0EDE237980EC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E5B7F2A-8FB0-41B4-8C1B-EA8A313794A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D743921E-6D1E-4571-B683-6DAA333BDEC0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FF5ED0A-DB5E-486D-948E-C524BDCBA3FF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03D44525-7618-42C3-A26B-9CC5DF2D2566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32E0E44-FAA6-4DC8-BBFA-E67911DFBAD7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E447D4-D1F3-48FC-A5DF-CC5107A778A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99225C-33E4-450B-9E02-9EAE6097820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44D8867-620D-4691-A0DD-79E16FC985B3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Freeform 76">
            <a:extLst>
              <a:ext uri="{FF2B5EF4-FFF2-40B4-BE49-F238E27FC236}">
                <a16:creationId xmlns:a16="http://schemas.microsoft.com/office/drawing/2014/main" id="{1F5F280D-2C3D-42CA-A5E9-C0DDA34CDB97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10714801" y="6603211"/>
            <a:ext cx="692414" cy="106472"/>
          </a:xfrm>
          <a:custGeom>
            <a:avLst/>
            <a:gdLst>
              <a:gd name="T0" fmla="*/ 0 w 23379"/>
              <a:gd name="T1" fmla="*/ 1791 h 3593"/>
              <a:gd name="T2" fmla="*/ 0 w 23379"/>
              <a:gd name="T3" fmla="*/ 1791 h 3593"/>
              <a:gd name="T4" fmla="*/ 2196 w 23379"/>
              <a:gd name="T5" fmla="*/ 3593 h 3593"/>
              <a:gd name="T6" fmla="*/ 4377 w 23379"/>
              <a:gd name="T7" fmla="*/ 2090 h 3593"/>
              <a:gd name="T8" fmla="*/ 3773 w 23379"/>
              <a:gd name="T9" fmla="*/ 2090 h 3593"/>
              <a:gd name="T10" fmla="*/ 2196 w 23379"/>
              <a:gd name="T11" fmla="*/ 3093 h 3593"/>
              <a:gd name="T12" fmla="*/ 598 w 23379"/>
              <a:gd name="T13" fmla="*/ 1791 h 3593"/>
              <a:gd name="T14" fmla="*/ 2196 w 23379"/>
              <a:gd name="T15" fmla="*/ 498 h 3593"/>
              <a:gd name="T16" fmla="*/ 3773 w 23379"/>
              <a:gd name="T17" fmla="*/ 1491 h 3593"/>
              <a:gd name="T18" fmla="*/ 4372 w 23379"/>
              <a:gd name="T19" fmla="*/ 1491 h 3593"/>
              <a:gd name="T20" fmla="*/ 2196 w 23379"/>
              <a:gd name="T21" fmla="*/ 0 h 3593"/>
              <a:gd name="T22" fmla="*/ 0 w 23379"/>
              <a:gd name="T23" fmla="*/ 1791 h 3593"/>
              <a:gd name="T24" fmla="*/ 7027 w 23379"/>
              <a:gd name="T25" fmla="*/ 3593 h 3593"/>
              <a:gd name="T26" fmla="*/ 7027 w 23379"/>
              <a:gd name="T27" fmla="*/ 3593 h 3593"/>
              <a:gd name="T28" fmla="*/ 9223 w 23379"/>
              <a:gd name="T29" fmla="*/ 1791 h 3593"/>
              <a:gd name="T30" fmla="*/ 7027 w 23379"/>
              <a:gd name="T31" fmla="*/ 0 h 3593"/>
              <a:gd name="T32" fmla="*/ 4831 w 23379"/>
              <a:gd name="T33" fmla="*/ 1791 h 3593"/>
              <a:gd name="T34" fmla="*/ 7027 w 23379"/>
              <a:gd name="T35" fmla="*/ 3593 h 3593"/>
              <a:gd name="T36" fmla="*/ 7027 w 23379"/>
              <a:gd name="T37" fmla="*/ 3093 h 3593"/>
              <a:gd name="T38" fmla="*/ 7027 w 23379"/>
              <a:gd name="T39" fmla="*/ 3093 h 3593"/>
              <a:gd name="T40" fmla="*/ 5430 w 23379"/>
              <a:gd name="T41" fmla="*/ 1791 h 3593"/>
              <a:gd name="T42" fmla="*/ 7027 w 23379"/>
              <a:gd name="T43" fmla="*/ 498 h 3593"/>
              <a:gd name="T44" fmla="*/ 8624 w 23379"/>
              <a:gd name="T45" fmla="*/ 1791 h 3593"/>
              <a:gd name="T46" fmla="*/ 7027 w 23379"/>
              <a:gd name="T47" fmla="*/ 3093 h 3593"/>
              <a:gd name="T48" fmla="*/ 13356 w 23379"/>
              <a:gd name="T49" fmla="*/ 49 h 3593"/>
              <a:gd name="T50" fmla="*/ 13356 w 23379"/>
              <a:gd name="T51" fmla="*/ 49 h 3593"/>
              <a:gd name="T52" fmla="*/ 11639 w 23379"/>
              <a:gd name="T53" fmla="*/ 2989 h 3593"/>
              <a:gd name="T54" fmla="*/ 9922 w 23379"/>
              <a:gd name="T55" fmla="*/ 49 h 3593"/>
              <a:gd name="T56" fmla="*/ 9228 w 23379"/>
              <a:gd name="T57" fmla="*/ 49 h 3593"/>
              <a:gd name="T58" fmla="*/ 11290 w 23379"/>
              <a:gd name="T59" fmla="*/ 3543 h 3593"/>
              <a:gd name="T60" fmla="*/ 11989 w 23379"/>
              <a:gd name="T61" fmla="*/ 3543 h 3593"/>
              <a:gd name="T62" fmla="*/ 14050 w 23379"/>
              <a:gd name="T63" fmla="*/ 49 h 3593"/>
              <a:gd name="T64" fmla="*/ 13356 w 23379"/>
              <a:gd name="T65" fmla="*/ 49 h 3593"/>
              <a:gd name="T66" fmla="*/ 17264 w 23379"/>
              <a:gd name="T67" fmla="*/ 3543 h 3593"/>
              <a:gd name="T68" fmla="*/ 17264 w 23379"/>
              <a:gd name="T69" fmla="*/ 3543 h 3593"/>
              <a:gd name="T70" fmla="*/ 17928 w 23379"/>
              <a:gd name="T71" fmla="*/ 3543 h 3593"/>
              <a:gd name="T72" fmla="*/ 15857 w 23379"/>
              <a:gd name="T73" fmla="*/ 49 h 3593"/>
              <a:gd name="T74" fmla="*/ 15178 w 23379"/>
              <a:gd name="T75" fmla="*/ 49 h 3593"/>
              <a:gd name="T76" fmla="*/ 13107 w 23379"/>
              <a:gd name="T77" fmla="*/ 3543 h 3593"/>
              <a:gd name="T78" fmla="*/ 13771 w 23379"/>
              <a:gd name="T79" fmla="*/ 3543 h 3593"/>
              <a:gd name="T80" fmla="*/ 14265 w 23379"/>
              <a:gd name="T81" fmla="*/ 2714 h 3593"/>
              <a:gd name="T82" fmla="*/ 16770 w 23379"/>
              <a:gd name="T83" fmla="*/ 2714 h 3593"/>
              <a:gd name="T84" fmla="*/ 17264 w 23379"/>
              <a:gd name="T85" fmla="*/ 3543 h 3593"/>
              <a:gd name="T86" fmla="*/ 14559 w 23379"/>
              <a:gd name="T87" fmla="*/ 2215 h 3593"/>
              <a:gd name="T88" fmla="*/ 14559 w 23379"/>
              <a:gd name="T89" fmla="*/ 2215 h 3593"/>
              <a:gd name="T90" fmla="*/ 15518 w 23379"/>
              <a:gd name="T91" fmla="*/ 598 h 3593"/>
              <a:gd name="T92" fmla="*/ 16476 w 23379"/>
              <a:gd name="T93" fmla="*/ 2215 h 3593"/>
              <a:gd name="T94" fmla="*/ 14559 w 23379"/>
              <a:gd name="T95" fmla="*/ 2215 h 3593"/>
              <a:gd name="T96" fmla="*/ 18228 w 23379"/>
              <a:gd name="T97" fmla="*/ 3543 h 3593"/>
              <a:gd name="T98" fmla="*/ 18228 w 23379"/>
              <a:gd name="T99" fmla="*/ 3543 h 3593"/>
              <a:gd name="T100" fmla="*/ 19126 w 23379"/>
              <a:gd name="T101" fmla="*/ 3543 h 3593"/>
              <a:gd name="T102" fmla="*/ 20803 w 23379"/>
              <a:gd name="T103" fmla="*/ 2195 h 3593"/>
              <a:gd name="T104" fmla="*/ 22480 w 23379"/>
              <a:gd name="T105" fmla="*/ 3543 h 3593"/>
              <a:gd name="T106" fmla="*/ 23379 w 23379"/>
              <a:gd name="T107" fmla="*/ 3543 h 3593"/>
              <a:gd name="T108" fmla="*/ 21178 w 23379"/>
              <a:gd name="T109" fmla="*/ 1796 h 3593"/>
              <a:gd name="T110" fmla="*/ 23379 w 23379"/>
              <a:gd name="T111" fmla="*/ 49 h 3593"/>
              <a:gd name="T112" fmla="*/ 22480 w 23379"/>
              <a:gd name="T113" fmla="*/ 49 h 3593"/>
              <a:gd name="T114" fmla="*/ 20803 w 23379"/>
              <a:gd name="T115" fmla="*/ 1396 h 3593"/>
              <a:gd name="T116" fmla="*/ 19126 w 23379"/>
              <a:gd name="T117" fmla="*/ 49 h 3593"/>
              <a:gd name="T118" fmla="*/ 18228 w 23379"/>
              <a:gd name="T119" fmla="*/ 49 h 3593"/>
              <a:gd name="T120" fmla="*/ 20429 w 23379"/>
              <a:gd name="T121" fmla="*/ 1796 h 3593"/>
              <a:gd name="T122" fmla="*/ 18228 w 23379"/>
              <a:gd name="T123" fmla="*/ 3543 h 3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379" h="3593">
                <a:moveTo>
                  <a:pt x="0" y="1791"/>
                </a:moveTo>
                <a:lnTo>
                  <a:pt x="0" y="1791"/>
                </a:lnTo>
                <a:cubicBezTo>
                  <a:pt x="0" y="2909"/>
                  <a:pt x="658" y="3593"/>
                  <a:pt x="2196" y="3593"/>
                </a:cubicBezTo>
                <a:cubicBezTo>
                  <a:pt x="3583" y="3593"/>
                  <a:pt x="4262" y="3024"/>
                  <a:pt x="4377" y="2090"/>
                </a:cubicBezTo>
                <a:lnTo>
                  <a:pt x="3773" y="2090"/>
                </a:lnTo>
                <a:cubicBezTo>
                  <a:pt x="3668" y="2829"/>
                  <a:pt x="3089" y="3093"/>
                  <a:pt x="2196" y="3093"/>
                </a:cubicBezTo>
                <a:cubicBezTo>
                  <a:pt x="1182" y="3093"/>
                  <a:pt x="598" y="2764"/>
                  <a:pt x="598" y="1791"/>
                </a:cubicBezTo>
                <a:cubicBezTo>
                  <a:pt x="598" y="822"/>
                  <a:pt x="1177" y="498"/>
                  <a:pt x="2196" y="498"/>
                </a:cubicBezTo>
                <a:cubicBezTo>
                  <a:pt x="3094" y="498"/>
                  <a:pt x="3668" y="758"/>
                  <a:pt x="3773" y="1491"/>
                </a:cubicBezTo>
                <a:lnTo>
                  <a:pt x="4372" y="1491"/>
                </a:lnTo>
                <a:cubicBezTo>
                  <a:pt x="4262" y="563"/>
                  <a:pt x="3583" y="0"/>
                  <a:pt x="2196" y="0"/>
                </a:cubicBezTo>
                <a:cubicBezTo>
                  <a:pt x="658" y="0"/>
                  <a:pt x="0" y="678"/>
                  <a:pt x="0" y="1791"/>
                </a:cubicBezTo>
                <a:close/>
                <a:moveTo>
                  <a:pt x="7027" y="3593"/>
                </a:moveTo>
                <a:lnTo>
                  <a:pt x="7027" y="3593"/>
                </a:lnTo>
                <a:cubicBezTo>
                  <a:pt x="8560" y="3593"/>
                  <a:pt x="9223" y="2904"/>
                  <a:pt x="9223" y="1791"/>
                </a:cubicBezTo>
                <a:cubicBezTo>
                  <a:pt x="9223" y="683"/>
                  <a:pt x="8560" y="0"/>
                  <a:pt x="7027" y="0"/>
                </a:cubicBezTo>
                <a:cubicBezTo>
                  <a:pt x="5490" y="0"/>
                  <a:pt x="4831" y="678"/>
                  <a:pt x="4831" y="1791"/>
                </a:cubicBezTo>
                <a:cubicBezTo>
                  <a:pt x="4831" y="2909"/>
                  <a:pt x="5490" y="3593"/>
                  <a:pt x="7027" y="3593"/>
                </a:cubicBezTo>
                <a:close/>
                <a:moveTo>
                  <a:pt x="7027" y="3093"/>
                </a:moveTo>
                <a:lnTo>
                  <a:pt x="7027" y="3093"/>
                </a:lnTo>
                <a:cubicBezTo>
                  <a:pt x="5964" y="3093"/>
                  <a:pt x="5430" y="2764"/>
                  <a:pt x="5430" y="1791"/>
                </a:cubicBezTo>
                <a:cubicBezTo>
                  <a:pt x="5430" y="822"/>
                  <a:pt x="5959" y="498"/>
                  <a:pt x="7027" y="498"/>
                </a:cubicBezTo>
                <a:cubicBezTo>
                  <a:pt x="8095" y="498"/>
                  <a:pt x="8624" y="827"/>
                  <a:pt x="8624" y="1791"/>
                </a:cubicBezTo>
                <a:cubicBezTo>
                  <a:pt x="8624" y="2759"/>
                  <a:pt x="8090" y="3093"/>
                  <a:pt x="7027" y="3093"/>
                </a:cubicBezTo>
                <a:close/>
                <a:moveTo>
                  <a:pt x="13356" y="49"/>
                </a:moveTo>
                <a:lnTo>
                  <a:pt x="13356" y="49"/>
                </a:lnTo>
                <a:lnTo>
                  <a:pt x="11639" y="2989"/>
                </a:lnTo>
                <a:lnTo>
                  <a:pt x="9922" y="49"/>
                </a:lnTo>
                <a:lnTo>
                  <a:pt x="9228" y="49"/>
                </a:lnTo>
                <a:lnTo>
                  <a:pt x="11290" y="3543"/>
                </a:lnTo>
                <a:lnTo>
                  <a:pt x="11989" y="3543"/>
                </a:lnTo>
                <a:lnTo>
                  <a:pt x="14050" y="49"/>
                </a:lnTo>
                <a:lnTo>
                  <a:pt x="13356" y="49"/>
                </a:lnTo>
                <a:close/>
                <a:moveTo>
                  <a:pt x="17264" y="3543"/>
                </a:moveTo>
                <a:lnTo>
                  <a:pt x="17264" y="3543"/>
                </a:lnTo>
                <a:lnTo>
                  <a:pt x="17928" y="3543"/>
                </a:lnTo>
                <a:lnTo>
                  <a:pt x="15857" y="49"/>
                </a:lnTo>
                <a:lnTo>
                  <a:pt x="15178" y="49"/>
                </a:lnTo>
                <a:lnTo>
                  <a:pt x="13107" y="3543"/>
                </a:lnTo>
                <a:lnTo>
                  <a:pt x="13771" y="3543"/>
                </a:lnTo>
                <a:lnTo>
                  <a:pt x="14265" y="2714"/>
                </a:lnTo>
                <a:lnTo>
                  <a:pt x="16770" y="2714"/>
                </a:lnTo>
                <a:lnTo>
                  <a:pt x="17264" y="3543"/>
                </a:lnTo>
                <a:close/>
                <a:moveTo>
                  <a:pt x="14559" y="2215"/>
                </a:moveTo>
                <a:lnTo>
                  <a:pt x="14559" y="2215"/>
                </a:lnTo>
                <a:lnTo>
                  <a:pt x="15518" y="598"/>
                </a:lnTo>
                <a:lnTo>
                  <a:pt x="16476" y="2215"/>
                </a:lnTo>
                <a:lnTo>
                  <a:pt x="14559" y="2215"/>
                </a:lnTo>
                <a:close/>
                <a:moveTo>
                  <a:pt x="18228" y="3543"/>
                </a:moveTo>
                <a:lnTo>
                  <a:pt x="18228" y="3543"/>
                </a:lnTo>
                <a:lnTo>
                  <a:pt x="19126" y="3543"/>
                </a:lnTo>
                <a:lnTo>
                  <a:pt x="20803" y="2195"/>
                </a:lnTo>
                <a:lnTo>
                  <a:pt x="22480" y="3543"/>
                </a:lnTo>
                <a:lnTo>
                  <a:pt x="23379" y="3543"/>
                </a:lnTo>
                <a:lnTo>
                  <a:pt x="21178" y="1796"/>
                </a:lnTo>
                <a:lnTo>
                  <a:pt x="23379" y="49"/>
                </a:lnTo>
                <a:lnTo>
                  <a:pt x="22480" y="49"/>
                </a:lnTo>
                <a:lnTo>
                  <a:pt x="20803" y="1396"/>
                </a:lnTo>
                <a:lnTo>
                  <a:pt x="19126" y="49"/>
                </a:lnTo>
                <a:lnTo>
                  <a:pt x="18228" y="49"/>
                </a:lnTo>
                <a:lnTo>
                  <a:pt x="20429" y="1796"/>
                </a:lnTo>
                <a:lnTo>
                  <a:pt x="18228" y="3543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231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88701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3" imgH="416" progId="TCLayout.ActiveDocument.1">
                  <p:embed/>
                </p:oleObj>
              </mc:Choice>
              <mc:Fallback>
                <p:oleObj name="think-cell Slide" r:id="rId2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987738" y="1872797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872797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ED72A14-997E-43A1-8277-64E43B8C35F3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9B15371-13C6-4FC5-A65B-0EDE237980EC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E5B7F2A-8FB0-41B4-8C1B-EA8A313794A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D743921E-6D1E-4571-B683-6DAA333BDEC0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FF5ED0A-DB5E-486D-948E-C524BDCBA3FF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03D44525-7618-42C3-A26B-9CC5DF2D2566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32E0E44-FAA6-4DC8-BBFA-E67911DFBAD7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E447D4-D1F3-48FC-A5DF-CC5107A778A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99225C-33E4-450B-9E02-9EAE60978205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44D8867-620D-4691-A0DD-79E16FC985B3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8" name="Freeform 76">
            <a:extLst>
              <a:ext uri="{FF2B5EF4-FFF2-40B4-BE49-F238E27FC236}">
                <a16:creationId xmlns:a16="http://schemas.microsoft.com/office/drawing/2014/main" id="{1F5F280D-2C3D-42CA-A5E9-C0DDA34CDB97}"/>
              </a:ext>
            </a:extLst>
          </p:cNvPr>
          <p:cNvSpPr>
            <a:spLocks noEditPoints="1"/>
          </p:cNvSpPr>
          <p:nvPr userDrawn="1"/>
        </p:nvSpPr>
        <p:spPr bwMode="ltGray">
          <a:xfrm>
            <a:off x="10714801" y="6603211"/>
            <a:ext cx="692414" cy="106472"/>
          </a:xfrm>
          <a:custGeom>
            <a:avLst/>
            <a:gdLst>
              <a:gd name="T0" fmla="*/ 0 w 23379"/>
              <a:gd name="T1" fmla="*/ 1791 h 3593"/>
              <a:gd name="T2" fmla="*/ 0 w 23379"/>
              <a:gd name="T3" fmla="*/ 1791 h 3593"/>
              <a:gd name="T4" fmla="*/ 2196 w 23379"/>
              <a:gd name="T5" fmla="*/ 3593 h 3593"/>
              <a:gd name="T6" fmla="*/ 4377 w 23379"/>
              <a:gd name="T7" fmla="*/ 2090 h 3593"/>
              <a:gd name="T8" fmla="*/ 3773 w 23379"/>
              <a:gd name="T9" fmla="*/ 2090 h 3593"/>
              <a:gd name="T10" fmla="*/ 2196 w 23379"/>
              <a:gd name="T11" fmla="*/ 3093 h 3593"/>
              <a:gd name="T12" fmla="*/ 598 w 23379"/>
              <a:gd name="T13" fmla="*/ 1791 h 3593"/>
              <a:gd name="T14" fmla="*/ 2196 w 23379"/>
              <a:gd name="T15" fmla="*/ 498 h 3593"/>
              <a:gd name="T16" fmla="*/ 3773 w 23379"/>
              <a:gd name="T17" fmla="*/ 1491 h 3593"/>
              <a:gd name="T18" fmla="*/ 4372 w 23379"/>
              <a:gd name="T19" fmla="*/ 1491 h 3593"/>
              <a:gd name="T20" fmla="*/ 2196 w 23379"/>
              <a:gd name="T21" fmla="*/ 0 h 3593"/>
              <a:gd name="T22" fmla="*/ 0 w 23379"/>
              <a:gd name="T23" fmla="*/ 1791 h 3593"/>
              <a:gd name="T24" fmla="*/ 7027 w 23379"/>
              <a:gd name="T25" fmla="*/ 3593 h 3593"/>
              <a:gd name="T26" fmla="*/ 7027 w 23379"/>
              <a:gd name="T27" fmla="*/ 3593 h 3593"/>
              <a:gd name="T28" fmla="*/ 9223 w 23379"/>
              <a:gd name="T29" fmla="*/ 1791 h 3593"/>
              <a:gd name="T30" fmla="*/ 7027 w 23379"/>
              <a:gd name="T31" fmla="*/ 0 h 3593"/>
              <a:gd name="T32" fmla="*/ 4831 w 23379"/>
              <a:gd name="T33" fmla="*/ 1791 h 3593"/>
              <a:gd name="T34" fmla="*/ 7027 w 23379"/>
              <a:gd name="T35" fmla="*/ 3593 h 3593"/>
              <a:gd name="T36" fmla="*/ 7027 w 23379"/>
              <a:gd name="T37" fmla="*/ 3093 h 3593"/>
              <a:gd name="T38" fmla="*/ 7027 w 23379"/>
              <a:gd name="T39" fmla="*/ 3093 h 3593"/>
              <a:gd name="T40" fmla="*/ 5430 w 23379"/>
              <a:gd name="T41" fmla="*/ 1791 h 3593"/>
              <a:gd name="T42" fmla="*/ 7027 w 23379"/>
              <a:gd name="T43" fmla="*/ 498 h 3593"/>
              <a:gd name="T44" fmla="*/ 8624 w 23379"/>
              <a:gd name="T45" fmla="*/ 1791 h 3593"/>
              <a:gd name="T46" fmla="*/ 7027 w 23379"/>
              <a:gd name="T47" fmla="*/ 3093 h 3593"/>
              <a:gd name="T48" fmla="*/ 13356 w 23379"/>
              <a:gd name="T49" fmla="*/ 49 h 3593"/>
              <a:gd name="T50" fmla="*/ 13356 w 23379"/>
              <a:gd name="T51" fmla="*/ 49 h 3593"/>
              <a:gd name="T52" fmla="*/ 11639 w 23379"/>
              <a:gd name="T53" fmla="*/ 2989 h 3593"/>
              <a:gd name="T54" fmla="*/ 9922 w 23379"/>
              <a:gd name="T55" fmla="*/ 49 h 3593"/>
              <a:gd name="T56" fmla="*/ 9228 w 23379"/>
              <a:gd name="T57" fmla="*/ 49 h 3593"/>
              <a:gd name="T58" fmla="*/ 11290 w 23379"/>
              <a:gd name="T59" fmla="*/ 3543 h 3593"/>
              <a:gd name="T60" fmla="*/ 11989 w 23379"/>
              <a:gd name="T61" fmla="*/ 3543 h 3593"/>
              <a:gd name="T62" fmla="*/ 14050 w 23379"/>
              <a:gd name="T63" fmla="*/ 49 h 3593"/>
              <a:gd name="T64" fmla="*/ 13356 w 23379"/>
              <a:gd name="T65" fmla="*/ 49 h 3593"/>
              <a:gd name="T66" fmla="*/ 17264 w 23379"/>
              <a:gd name="T67" fmla="*/ 3543 h 3593"/>
              <a:gd name="T68" fmla="*/ 17264 w 23379"/>
              <a:gd name="T69" fmla="*/ 3543 h 3593"/>
              <a:gd name="T70" fmla="*/ 17928 w 23379"/>
              <a:gd name="T71" fmla="*/ 3543 h 3593"/>
              <a:gd name="T72" fmla="*/ 15857 w 23379"/>
              <a:gd name="T73" fmla="*/ 49 h 3593"/>
              <a:gd name="T74" fmla="*/ 15178 w 23379"/>
              <a:gd name="T75" fmla="*/ 49 h 3593"/>
              <a:gd name="T76" fmla="*/ 13107 w 23379"/>
              <a:gd name="T77" fmla="*/ 3543 h 3593"/>
              <a:gd name="T78" fmla="*/ 13771 w 23379"/>
              <a:gd name="T79" fmla="*/ 3543 h 3593"/>
              <a:gd name="T80" fmla="*/ 14265 w 23379"/>
              <a:gd name="T81" fmla="*/ 2714 h 3593"/>
              <a:gd name="T82" fmla="*/ 16770 w 23379"/>
              <a:gd name="T83" fmla="*/ 2714 h 3593"/>
              <a:gd name="T84" fmla="*/ 17264 w 23379"/>
              <a:gd name="T85" fmla="*/ 3543 h 3593"/>
              <a:gd name="T86" fmla="*/ 14559 w 23379"/>
              <a:gd name="T87" fmla="*/ 2215 h 3593"/>
              <a:gd name="T88" fmla="*/ 14559 w 23379"/>
              <a:gd name="T89" fmla="*/ 2215 h 3593"/>
              <a:gd name="T90" fmla="*/ 15518 w 23379"/>
              <a:gd name="T91" fmla="*/ 598 h 3593"/>
              <a:gd name="T92" fmla="*/ 16476 w 23379"/>
              <a:gd name="T93" fmla="*/ 2215 h 3593"/>
              <a:gd name="T94" fmla="*/ 14559 w 23379"/>
              <a:gd name="T95" fmla="*/ 2215 h 3593"/>
              <a:gd name="T96" fmla="*/ 18228 w 23379"/>
              <a:gd name="T97" fmla="*/ 3543 h 3593"/>
              <a:gd name="T98" fmla="*/ 18228 w 23379"/>
              <a:gd name="T99" fmla="*/ 3543 h 3593"/>
              <a:gd name="T100" fmla="*/ 19126 w 23379"/>
              <a:gd name="T101" fmla="*/ 3543 h 3593"/>
              <a:gd name="T102" fmla="*/ 20803 w 23379"/>
              <a:gd name="T103" fmla="*/ 2195 h 3593"/>
              <a:gd name="T104" fmla="*/ 22480 w 23379"/>
              <a:gd name="T105" fmla="*/ 3543 h 3593"/>
              <a:gd name="T106" fmla="*/ 23379 w 23379"/>
              <a:gd name="T107" fmla="*/ 3543 h 3593"/>
              <a:gd name="T108" fmla="*/ 21178 w 23379"/>
              <a:gd name="T109" fmla="*/ 1796 h 3593"/>
              <a:gd name="T110" fmla="*/ 23379 w 23379"/>
              <a:gd name="T111" fmla="*/ 49 h 3593"/>
              <a:gd name="T112" fmla="*/ 22480 w 23379"/>
              <a:gd name="T113" fmla="*/ 49 h 3593"/>
              <a:gd name="T114" fmla="*/ 20803 w 23379"/>
              <a:gd name="T115" fmla="*/ 1396 h 3593"/>
              <a:gd name="T116" fmla="*/ 19126 w 23379"/>
              <a:gd name="T117" fmla="*/ 49 h 3593"/>
              <a:gd name="T118" fmla="*/ 18228 w 23379"/>
              <a:gd name="T119" fmla="*/ 49 h 3593"/>
              <a:gd name="T120" fmla="*/ 20429 w 23379"/>
              <a:gd name="T121" fmla="*/ 1796 h 3593"/>
              <a:gd name="T122" fmla="*/ 18228 w 23379"/>
              <a:gd name="T123" fmla="*/ 3543 h 3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3379" h="3593">
                <a:moveTo>
                  <a:pt x="0" y="1791"/>
                </a:moveTo>
                <a:lnTo>
                  <a:pt x="0" y="1791"/>
                </a:lnTo>
                <a:cubicBezTo>
                  <a:pt x="0" y="2909"/>
                  <a:pt x="658" y="3593"/>
                  <a:pt x="2196" y="3593"/>
                </a:cubicBezTo>
                <a:cubicBezTo>
                  <a:pt x="3583" y="3593"/>
                  <a:pt x="4262" y="3024"/>
                  <a:pt x="4377" y="2090"/>
                </a:cubicBezTo>
                <a:lnTo>
                  <a:pt x="3773" y="2090"/>
                </a:lnTo>
                <a:cubicBezTo>
                  <a:pt x="3668" y="2829"/>
                  <a:pt x="3089" y="3093"/>
                  <a:pt x="2196" y="3093"/>
                </a:cubicBezTo>
                <a:cubicBezTo>
                  <a:pt x="1182" y="3093"/>
                  <a:pt x="598" y="2764"/>
                  <a:pt x="598" y="1791"/>
                </a:cubicBezTo>
                <a:cubicBezTo>
                  <a:pt x="598" y="822"/>
                  <a:pt x="1177" y="498"/>
                  <a:pt x="2196" y="498"/>
                </a:cubicBezTo>
                <a:cubicBezTo>
                  <a:pt x="3094" y="498"/>
                  <a:pt x="3668" y="758"/>
                  <a:pt x="3773" y="1491"/>
                </a:cubicBezTo>
                <a:lnTo>
                  <a:pt x="4372" y="1491"/>
                </a:lnTo>
                <a:cubicBezTo>
                  <a:pt x="4262" y="563"/>
                  <a:pt x="3583" y="0"/>
                  <a:pt x="2196" y="0"/>
                </a:cubicBezTo>
                <a:cubicBezTo>
                  <a:pt x="658" y="0"/>
                  <a:pt x="0" y="678"/>
                  <a:pt x="0" y="1791"/>
                </a:cubicBezTo>
                <a:close/>
                <a:moveTo>
                  <a:pt x="7027" y="3593"/>
                </a:moveTo>
                <a:lnTo>
                  <a:pt x="7027" y="3593"/>
                </a:lnTo>
                <a:cubicBezTo>
                  <a:pt x="8560" y="3593"/>
                  <a:pt x="9223" y="2904"/>
                  <a:pt x="9223" y="1791"/>
                </a:cubicBezTo>
                <a:cubicBezTo>
                  <a:pt x="9223" y="683"/>
                  <a:pt x="8560" y="0"/>
                  <a:pt x="7027" y="0"/>
                </a:cubicBezTo>
                <a:cubicBezTo>
                  <a:pt x="5490" y="0"/>
                  <a:pt x="4831" y="678"/>
                  <a:pt x="4831" y="1791"/>
                </a:cubicBezTo>
                <a:cubicBezTo>
                  <a:pt x="4831" y="2909"/>
                  <a:pt x="5490" y="3593"/>
                  <a:pt x="7027" y="3593"/>
                </a:cubicBezTo>
                <a:close/>
                <a:moveTo>
                  <a:pt x="7027" y="3093"/>
                </a:moveTo>
                <a:lnTo>
                  <a:pt x="7027" y="3093"/>
                </a:lnTo>
                <a:cubicBezTo>
                  <a:pt x="5964" y="3093"/>
                  <a:pt x="5430" y="2764"/>
                  <a:pt x="5430" y="1791"/>
                </a:cubicBezTo>
                <a:cubicBezTo>
                  <a:pt x="5430" y="822"/>
                  <a:pt x="5959" y="498"/>
                  <a:pt x="7027" y="498"/>
                </a:cubicBezTo>
                <a:cubicBezTo>
                  <a:pt x="8095" y="498"/>
                  <a:pt x="8624" y="827"/>
                  <a:pt x="8624" y="1791"/>
                </a:cubicBezTo>
                <a:cubicBezTo>
                  <a:pt x="8624" y="2759"/>
                  <a:pt x="8090" y="3093"/>
                  <a:pt x="7027" y="3093"/>
                </a:cubicBezTo>
                <a:close/>
                <a:moveTo>
                  <a:pt x="13356" y="49"/>
                </a:moveTo>
                <a:lnTo>
                  <a:pt x="13356" y="49"/>
                </a:lnTo>
                <a:lnTo>
                  <a:pt x="11639" y="2989"/>
                </a:lnTo>
                <a:lnTo>
                  <a:pt x="9922" y="49"/>
                </a:lnTo>
                <a:lnTo>
                  <a:pt x="9228" y="49"/>
                </a:lnTo>
                <a:lnTo>
                  <a:pt x="11290" y="3543"/>
                </a:lnTo>
                <a:lnTo>
                  <a:pt x="11989" y="3543"/>
                </a:lnTo>
                <a:lnTo>
                  <a:pt x="14050" y="49"/>
                </a:lnTo>
                <a:lnTo>
                  <a:pt x="13356" y="49"/>
                </a:lnTo>
                <a:close/>
                <a:moveTo>
                  <a:pt x="17264" y="3543"/>
                </a:moveTo>
                <a:lnTo>
                  <a:pt x="17264" y="3543"/>
                </a:lnTo>
                <a:lnTo>
                  <a:pt x="17928" y="3543"/>
                </a:lnTo>
                <a:lnTo>
                  <a:pt x="15857" y="49"/>
                </a:lnTo>
                <a:lnTo>
                  <a:pt x="15178" y="49"/>
                </a:lnTo>
                <a:lnTo>
                  <a:pt x="13107" y="3543"/>
                </a:lnTo>
                <a:lnTo>
                  <a:pt x="13771" y="3543"/>
                </a:lnTo>
                <a:lnTo>
                  <a:pt x="14265" y="2714"/>
                </a:lnTo>
                <a:lnTo>
                  <a:pt x="16770" y="2714"/>
                </a:lnTo>
                <a:lnTo>
                  <a:pt x="17264" y="3543"/>
                </a:lnTo>
                <a:close/>
                <a:moveTo>
                  <a:pt x="14559" y="2215"/>
                </a:moveTo>
                <a:lnTo>
                  <a:pt x="14559" y="2215"/>
                </a:lnTo>
                <a:lnTo>
                  <a:pt x="15518" y="598"/>
                </a:lnTo>
                <a:lnTo>
                  <a:pt x="16476" y="2215"/>
                </a:lnTo>
                <a:lnTo>
                  <a:pt x="14559" y="2215"/>
                </a:lnTo>
                <a:close/>
                <a:moveTo>
                  <a:pt x="18228" y="3543"/>
                </a:moveTo>
                <a:lnTo>
                  <a:pt x="18228" y="3543"/>
                </a:lnTo>
                <a:lnTo>
                  <a:pt x="19126" y="3543"/>
                </a:lnTo>
                <a:lnTo>
                  <a:pt x="20803" y="2195"/>
                </a:lnTo>
                <a:lnTo>
                  <a:pt x="22480" y="3543"/>
                </a:lnTo>
                <a:lnTo>
                  <a:pt x="23379" y="3543"/>
                </a:lnTo>
                <a:lnTo>
                  <a:pt x="21178" y="1796"/>
                </a:lnTo>
                <a:lnTo>
                  <a:pt x="23379" y="49"/>
                </a:lnTo>
                <a:lnTo>
                  <a:pt x="22480" y="49"/>
                </a:lnTo>
                <a:lnTo>
                  <a:pt x="20803" y="1396"/>
                </a:lnTo>
                <a:lnTo>
                  <a:pt x="19126" y="49"/>
                </a:lnTo>
                <a:lnTo>
                  <a:pt x="18228" y="49"/>
                </a:lnTo>
                <a:lnTo>
                  <a:pt x="20429" y="1796"/>
                </a:lnTo>
                <a:lnTo>
                  <a:pt x="18228" y="3543"/>
                </a:lnTo>
                <a:close/>
              </a:path>
            </a:pathLst>
          </a:custGeom>
          <a:solidFill>
            <a:schemeClr val="accent1"/>
          </a:solidFill>
          <a:ln w="0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MSIPCMContentMarking" descr="{&quot;HashCode&quot;:2027334168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09B809E2-C5CF-4E65-A30D-FB0DB4C31033}"/>
              </a:ext>
            </a:extLst>
          </p:cNvPr>
          <p:cNvSpPr txBox="1"/>
          <p:nvPr userDrawn="1"/>
        </p:nvSpPr>
        <p:spPr>
          <a:xfrm>
            <a:off x="0" y="0"/>
            <a:ext cx="1349761" cy="2623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as Internal</a:t>
            </a:r>
          </a:p>
        </p:txBody>
      </p:sp>
    </p:spTree>
    <p:extLst>
      <p:ext uri="{BB962C8B-B14F-4D97-AF65-F5344CB8AC3E}">
        <p14:creationId xmlns:p14="http://schemas.microsoft.com/office/powerpoint/2010/main" val="312116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9469293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13" imgH="416" progId="TCLayout.ActiveDocument.1">
                  <p:embed/>
                </p:oleObj>
              </mc:Choice>
              <mc:Fallback>
                <p:oleObj name="think-cell Slide" r:id="rId4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9" name="Rectangle 12">
            <a:extLst>
              <a:ext uri="{FF2B5EF4-FFF2-40B4-BE49-F238E27FC236}">
                <a16:creationId xmlns:a16="http://schemas.microsoft.com/office/drawing/2014/main" id="{995DEE4D-DE68-4D88-892E-A824D28BAD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6633" y="6450015"/>
            <a:ext cx="12198633" cy="42474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00"/>
          </a:p>
        </p:txBody>
      </p:sp>
      <p:pic>
        <p:nvPicPr>
          <p:cNvPr id="152" name="Picture 17">
            <a:extLst>
              <a:ext uri="{FF2B5EF4-FFF2-40B4-BE49-F238E27FC236}">
                <a16:creationId xmlns:a16="http://schemas.microsoft.com/office/drawing/2014/main" id="{21E2EAA5-B57A-4298-86E2-F46FEDB28F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37314" y="6485868"/>
            <a:ext cx="1198428" cy="36604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8402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50234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600"/>
              <a:t>Above Chart Exhibit Title</a:t>
            </a:r>
          </a:p>
          <a:p>
            <a:pPr lvl="0"/>
            <a:r>
              <a:rPr lang="en-US" sz="16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8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3" name="LegendLines" hidden="1">
            <a:extLst>
              <a:ext uri="{FF2B5EF4-FFF2-40B4-BE49-F238E27FC236}">
                <a16:creationId xmlns:a16="http://schemas.microsoft.com/office/drawing/2014/main" id="{824664CA-9CBA-4BC2-AEEE-EB680CBAC853}"/>
              </a:ext>
            </a:extLst>
          </p:cNvPr>
          <p:cNvGrpSpPr/>
          <p:nvPr userDrawn="1"/>
        </p:nvGrpSpPr>
        <p:grpSpPr>
          <a:xfrm>
            <a:off x="10317302" y="3150227"/>
            <a:ext cx="1319961" cy="958287"/>
            <a:chOff x="10162879" y="3243772"/>
            <a:chExt cx="1319961" cy="958286"/>
          </a:xfrm>
        </p:grpSpPr>
        <p:sp>
          <p:nvSpPr>
            <p:cNvPr id="154" name="Legend1">
              <a:extLst>
                <a:ext uri="{FF2B5EF4-FFF2-40B4-BE49-F238E27FC236}">
                  <a16:creationId xmlns:a16="http://schemas.microsoft.com/office/drawing/2014/main" id="{50866770-7E78-4B98-AE5C-FC36613ACEE3}"/>
                </a:ext>
              </a:extLst>
            </p:cNvPr>
            <p:cNvSpPr txBox="1"/>
            <p:nvPr/>
          </p:nvSpPr>
          <p:spPr>
            <a:xfrm>
              <a:off x="10886523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5" name="Legend2">
              <a:extLst>
                <a:ext uri="{FF2B5EF4-FFF2-40B4-BE49-F238E27FC236}">
                  <a16:creationId xmlns:a16="http://schemas.microsoft.com/office/drawing/2014/main" id="{60800198-ACA8-4569-B19F-EDC2AA39573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3">
              <a:extLst>
                <a:ext uri="{FF2B5EF4-FFF2-40B4-BE49-F238E27FC236}">
                  <a16:creationId xmlns:a16="http://schemas.microsoft.com/office/drawing/2014/main" id="{1AD78493-2F46-4D78-B490-9CB3A59F0F2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7" name="LineLegend3">
              <a:extLst>
                <a:ext uri="{FF2B5EF4-FFF2-40B4-BE49-F238E27FC236}">
                  <a16:creationId xmlns:a16="http://schemas.microsoft.com/office/drawing/2014/main" id="{D78428E7-1031-4525-958D-2AEC82E576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8" name="LineLegend2">
              <a:extLst>
                <a:ext uri="{FF2B5EF4-FFF2-40B4-BE49-F238E27FC236}">
                  <a16:creationId xmlns:a16="http://schemas.microsoft.com/office/drawing/2014/main" id="{32960FFE-A946-4DC5-A896-73EC6891F6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59" name="LineLegend1">
              <a:extLst>
                <a:ext uri="{FF2B5EF4-FFF2-40B4-BE49-F238E27FC236}">
                  <a16:creationId xmlns:a16="http://schemas.microsoft.com/office/drawing/2014/main" id="{2D89AC4B-3F7B-414E-BBC9-753E2DCD022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60" name="LegendMoons" hidden="1">
            <a:extLst>
              <a:ext uri="{FF2B5EF4-FFF2-40B4-BE49-F238E27FC236}">
                <a16:creationId xmlns:a16="http://schemas.microsoft.com/office/drawing/2014/main" id="{1C2C0F83-8077-434A-80BF-DC74551C0FEE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8"/>
            <a:chOff x="7723680" y="1702457"/>
            <a:chExt cx="948950" cy="1731859"/>
          </a:xfrm>
        </p:grpSpPr>
        <p:sp>
          <p:nvSpPr>
            <p:cNvPr id="161" name="Legend1">
              <a:extLst>
                <a:ext uri="{FF2B5EF4-FFF2-40B4-BE49-F238E27FC236}">
                  <a16:creationId xmlns:a16="http://schemas.microsoft.com/office/drawing/2014/main" id="{60EC90F2-C3D6-4A1E-A522-2B0084B9AE3B}"/>
                </a:ext>
              </a:extLst>
            </p:cNvPr>
            <p:cNvSpPr txBox="1"/>
            <p:nvPr/>
          </p:nvSpPr>
          <p:spPr>
            <a:xfrm>
              <a:off x="8076312" y="1709816"/>
              <a:ext cx="5963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2" name="Legend2">
              <a:extLst>
                <a:ext uri="{FF2B5EF4-FFF2-40B4-BE49-F238E27FC236}">
                  <a16:creationId xmlns:a16="http://schemas.microsoft.com/office/drawing/2014/main" id="{608623A6-B3C2-40FD-9974-313B9899F29B}"/>
                </a:ext>
              </a:extLst>
            </p:cNvPr>
            <p:cNvSpPr txBox="1"/>
            <p:nvPr/>
          </p:nvSpPr>
          <p:spPr>
            <a:xfrm>
              <a:off x="8076312" y="2085274"/>
              <a:ext cx="5963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3" name="Legend3">
              <a:extLst>
                <a:ext uri="{FF2B5EF4-FFF2-40B4-BE49-F238E27FC236}">
                  <a16:creationId xmlns:a16="http://schemas.microsoft.com/office/drawing/2014/main" id="{079CB4EB-D6E1-4D96-95B5-5BA83C6B2D10}"/>
                </a:ext>
              </a:extLst>
            </p:cNvPr>
            <p:cNvSpPr txBox="1"/>
            <p:nvPr/>
          </p:nvSpPr>
          <p:spPr>
            <a:xfrm>
              <a:off x="8076312" y="2460734"/>
              <a:ext cx="5963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4" name="Legend4">
              <a:extLst>
                <a:ext uri="{FF2B5EF4-FFF2-40B4-BE49-F238E27FC236}">
                  <a16:creationId xmlns:a16="http://schemas.microsoft.com/office/drawing/2014/main" id="{2D239807-0A7B-4680-A18C-E70D41EBB90E}"/>
                </a:ext>
              </a:extLst>
            </p:cNvPr>
            <p:cNvSpPr txBox="1"/>
            <p:nvPr/>
          </p:nvSpPr>
          <p:spPr>
            <a:xfrm>
              <a:off x="8076312" y="2836193"/>
              <a:ext cx="5963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5" name="Legend5">
              <a:extLst>
                <a:ext uri="{FF2B5EF4-FFF2-40B4-BE49-F238E27FC236}">
                  <a16:creationId xmlns:a16="http://schemas.microsoft.com/office/drawing/2014/main" id="{31B15AEC-CBEB-4DC7-8CBE-55C046CC45AC}"/>
                </a:ext>
              </a:extLst>
            </p:cNvPr>
            <p:cNvSpPr txBox="1"/>
            <p:nvPr/>
          </p:nvSpPr>
          <p:spPr>
            <a:xfrm>
              <a:off x="8076312" y="3211655"/>
              <a:ext cx="5963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166" name="MoonLegend1">
              <a:extLst>
                <a:ext uri="{FF2B5EF4-FFF2-40B4-BE49-F238E27FC236}">
                  <a16:creationId xmlns:a16="http://schemas.microsoft.com/office/drawing/2014/main" id="{AE632BB1-F875-4D92-8B2F-237708A0CA6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E7BB0302-2398-47BF-BAA0-1F7D6CFFC74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Arc 190">
                <a:extLst>
                  <a:ext uri="{FF2B5EF4-FFF2-40B4-BE49-F238E27FC236}">
                    <a16:creationId xmlns:a16="http://schemas.microsoft.com/office/drawing/2014/main" id="{1EC76811-ECA2-4449-B4B1-696BEA5678D4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7" name="MoonLegend2">
              <a:extLst>
                <a:ext uri="{FF2B5EF4-FFF2-40B4-BE49-F238E27FC236}">
                  <a16:creationId xmlns:a16="http://schemas.microsoft.com/office/drawing/2014/main" id="{B3BB233A-1F5C-412E-96A0-C1B1668CF844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677312EB-258E-4A3B-AF67-2E3390F5E0F9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9" name="Arc 188">
                <a:extLst>
                  <a:ext uri="{FF2B5EF4-FFF2-40B4-BE49-F238E27FC236}">
                    <a16:creationId xmlns:a16="http://schemas.microsoft.com/office/drawing/2014/main" id="{AE4A3AA3-1575-43DC-A2FC-75F17D4920A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68" name="MoonLegend3">
              <a:extLst>
                <a:ext uri="{FF2B5EF4-FFF2-40B4-BE49-F238E27FC236}">
                  <a16:creationId xmlns:a16="http://schemas.microsoft.com/office/drawing/2014/main" id="{245259AB-784C-44BE-BC51-53B81C3C6047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63530634-CB58-4B0E-8669-BD58DE6E7C8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7" name="Arc 186">
                <a:extLst>
                  <a:ext uri="{FF2B5EF4-FFF2-40B4-BE49-F238E27FC236}">
                    <a16:creationId xmlns:a16="http://schemas.microsoft.com/office/drawing/2014/main" id="{570FB72B-45DC-46A5-BB9A-8BDC5E58FAC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79" name="MoonLegend4">
              <a:extLst>
                <a:ext uri="{FF2B5EF4-FFF2-40B4-BE49-F238E27FC236}">
                  <a16:creationId xmlns:a16="http://schemas.microsoft.com/office/drawing/2014/main" id="{FBF435B8-807F-4D16-841C-6025441A19C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8DCCA69E-B122-4D78-8DCB-61D80D85E58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4" name="Arc 183">
                <a:extLst>
                  <a:ext uri="{FF2B5EF4-FFF2-40B4-BE49-F238E27FC236}">
                    <a16:creationId xmlns:a16="http://schemas.microsoft.com/office/drawing/2014/main" id="{EBD6A758-DCE6-4ECA-8A27-B8158F3FA9C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80" name="MoonLegend5">
              <a:extLst>
                <a:ext uri="{FF2B5EF4-FFF2-40B4-BE49-F238E27FC236}">
                  <a16:creationId xmlns:a16="http://schemas.microsoft.com/office/drawing/2014/main" id="{5495CBB2-1285-426E-A323-C51AA6A72569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0CD67488-479D-480B-BA77-F62D0CD5292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2" name="Arc 181">
                <a:extLst>
                  <a:ext uri="{FF2B5EF4-FFF2-40B4-BE49-F238E27FC236}">
                    <a16:creationId xmlns:a16="http://schemas.microsoft.com/office/drawing/2014/main" id="{6DE8F7C9-C68D-4169-8A18-D9ECEB288892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192" name="LegendBoxes" hidden="1">
            <a:extLst>
              <a:ext uri="{FF2B5EF4-FFF2-40B4-BE49-F238E27FC236}">
                <a16:creationId xmlns:a16="http://schemas.microsoft.com/office/drawing/2014/main" id="{B155AAC0-1705-4D70-B770-11BF11451495}"/>
              </a:ext>
            </a:extLst>
          </p:cNvPr>
          <p:cNvGrpSpPr/>
          <p:nvPr userDrawn="1"/>
        </p:nvGrpSpPr>
        <p:grpSpPr>
          <a:xfrm>
            <a:off x="10714798" y="4381501"/>
            <a:ext cx="922464" cy="1717282"/>
            <a:chOff x="10652400" y="4322824"/>
            <a:chExt cx="922464" cy="1717282"/>
          </a:xfrm>
        </p:grpSpPr>
        <p:sp>
          <p:nvSpPr>
            <p:cNvPr id="193" name="RectangleLegend1">
              <a:extLst>
                <a:ext uri="{FF2B5EF4-FFF2-40B4-BE49-F238E27FC236}">
                  <a16:creationId xmlns:a16="http://schemas.microsoft.com/office/drawing/2014/main" id="{86FC8069-537A-4597-9DA1-F1C857D7B76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4" name="RectangleLegend2">
              <a:extLst>
                <a:ext uri="{FF2B5EF4-FFF2-40B4-BE49-F238E27FC236}">
                  <a16:creationId xmlns:a16="http://schemas.microsoft.com/office/drawing/2014/main" id="{2502BF71-FDE8-4313-A13C-3FD87E6904DA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5" name="RectangleLegend3">
              <a:extLst>
                <a:ext uri="{FF2B5EF4-FFF2-40B4-BE49-F238E27FC236}">
                  <a16:creationId xmlns:a16="http://schemas.microsoft.com/office/drawing/2014/main" id="{AAAC8C7F-D65F-4555-A58C-AE9E3B6D701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6" name="RectangleLegend4">
              <a:extLst>
                <a:ext uri="{FF2B5EF4-FFF2-40B4-BE49-F238E27FC236}">
                  <a16:creationId xmlns:a16="http://schemas.microsoft.com/office/drawing/2014/main" id="{A3594C7D-CFDB-4980-848D-11EA3BFC98E8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7" name="RectangleLegend5">
              <a:extLst>
                <a:ext uri="{FF2B5EF4-FFF2-40B4-BE49-F238E27FC236}">
                  <a16:creationId xmlns:a16="http://schemas.microsoft.com/office/drawing/2014/main" id="{27D659C1-FA2F-4455-88B1-C3AAAC688F11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7" name="Legend1">
              <a:extLst>
                <a:ext uri="{FF2B5EF4-FFF2-40B4-BE49-F238E27FC236}">
                  <a16:creationId xmlns:a16="http://schemas.microsoft.com/office/drawing/2014/main" id="{DD68C5FB-28D3-4635-BB70-CDC92FE3C38A}"/>
                </a:ext>
              </a:extLst>
            </p:cNvPr>
            <p:cNvSpPr txBox="1"/>
            <p:nvPr/>
          </p:nvSpPr>
          <p:spPr>
            <a:xfrm>
              <a:off x="10978547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8" name="Legend2">
              <a:extLst>
                <a:ext uri="{FF2B5EF4-FFF2-40B4-BE49-F238E27FC236}">
                  <a16:creationId xmlns:a16="http://schemas.microsoft.com/office/drawing/2014/main" id="{0F1454F8-83B7-4593-9440-E5FFBC024CAB}"/>
                </a:ext>
              </a:extLst>
            </p:cNvPr>
            <p:cNvSpPr txBox="1"/>
            <p:nvPr/>
          </p:nvSpPr>
          <p:spPr>
            <a:xfrm>
              <a:off x="10978547" y="470232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9" name="Legend3">
              <a:extLst>
                <a:ext uri="{FF2B5EF4-FFF2-40B4-BE49-F238E27FC236}">
                  <a16:creationId xmlns:a16="http://schemas.microsoft.com/office/drawing/2014/main" id="{939A538E-F8F2-4DC4-AB07-DB4B55953C03}"/>
                </a:ext>
              </a:extLst>
            </p:cNvPr>
            <p:cNvSpPr txBox="1"/>
            <p:nvPr/>
          </p:nvSpPr>
          <p:spPr>
            <a:xfrm>
              <a:off x="10978547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0" name="Legend4">
              <a:extLst>
                <a:ext uri="{FF2B5EF4-FFF2-40B4-BE49-F238E27FC236}">
                  <a16:creationId xmlns:a16="http://schemas.microsoft.com/office/drawing/2014/main" id="{8D10687F-B099-467B-8A36-F9E9168AE45D}"/>
                </a:ext>
              </a:extLst>
            </p:cNvPr>
            <p:cNvSpPr txBox="1"/>
            <p:nvPr/>
          </p:nvSpPr>
          <p:spPr>
            <a:xfrm>
              <a:off x="10978547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31" name="Legend5">
              <a:extLst>
                <a:ext uri="{FF2B5EF4-FFF2-40B4-BE49-F238E27FC236}">
                  <a16:creationId xmlns:a16="http://schemas.microsoft.com/office/drawing/2014/main" id="{B548876E-830B-4B02-86BE-66E2E18A68BF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F6FFE83-1A24-49A9-A905-1B582A31325C}"/>
              </a:ext>
            </a:extLst>
          </p:cNvPr>
          <p:cNvCxnSpPr/>
          <p:nvPr userDrawn="1"/>
        </p:nvCxnSpPr>
        <p:spPr>
          <a:xfrm>
            <a:off x="-7620" y="960119"/>
            <a:ext cx="12206255" cy="0"/>
          </a:xfrm>
          <a:prstGeom prst="line">
            <a:avLst/>
          </a:prstGeom>
          <a:ln w="28575" cap="flat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Slide Number">
            <a:extLst>
              <a:ext uri="{FF2B5EF4-FFF2-40B4-BE49-F238E27FC236}">
                <a16:creationId xmlns:a16="http://schemas.microsoft.com/office/drawing/2014/main" id="{A8CBB865-B83A-450C-B8E2-C498399BE776}"/>
              </a:ext>
            </a:extLst>
          </p:cNvPr>
          <p:cNvSpPr>
            <a:spLocks noChangeArrowheads="1"/>
          </p:cNvSpPr>
          <p:nvPr userDrawn="1">
            <p:custDataLst>
              <p:tags r:id="rId27"/>
            </p:custDataLst>
          </p:nvPr>
        </p:nvSpPr>
        <p:spPr bwMode="black">
          <a:xfrm>
            <a:off x="554736" y="6593140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6537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4" indent="-22542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02" indent="-214308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73" indent="-15239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42" indent="-147635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420728B-E510-48BE-B648-CD6FA3664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54954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4" imgH="344" progId="TCLayout.ActiveDocument.1">
                  <p:embed/>
                </p:oleObj>
              </mc:Choice>
              <mc:Fallback>
                <p:oleObj name="think-cell Slide" r:id="rId14" imgW="344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420728B-E510-48BE-B648-CD6FA3664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02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420728B-E510-48BE-B648-CD6FA3664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42208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4" imgH="344" progId="TCLayout.ActiveDocument.1">
                  <p:embed/>
                </p:oleObj>
              </mc:Choice>
              <mc:Fallback>
                <p:oleObj name="think-cell Slide" r:id="rId14" imgW="344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420728B-E510-48BE-B648-CD6FA3664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163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420728B-E510-48BE-B648-CD6FA3664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4357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4" imgH="344" progId="TCLayout.ActiveDocument.1">
                  <p:embed/>
                </p:oleObj>
              </mc:Choice>
              <mc:Fallback>
                <p:oleObj name="think-cell Slide" r:id="rId14" imgW="344" imgH="34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420728B-E510-48BE-B648-CD6FA3664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ED9C8-F09A-4D9E-BEC0-4725162E21FF}" type="datetimeFigureOut">
              <a:rPr lang="en-US" smtClean="0"/>
              <a:t>9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7D807A-D3EC-4DEA-86E2-120E4093F1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521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9140880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72" imgH="588" progId="TCLayout.ActiveDocument.1">
                  <p:embed/>
                </p:oleObj>
              </mc:Choice>
              <mc:Fallback>
                <p:oleObj name="think-cell Slide" r:id="rId40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C4A855FC-965A-4859-83A9-629E80C693BF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id="{06E07A66-B8BA-42E8-A0F6-6B0251CAA48E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48640" y="6274555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US" sz="800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7" y="341253"/>
            <a:ext cx="8453353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id="{564EB9F6-AC04-42ED-9CB6-6D01335D9982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 bwMode="blackGray"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394691"/>
              <a:ext cx="11082528" cy="4823229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1867077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3974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id="{F4B31D41-9E38-4C47-B14A-953F41CF2048}"/>
              </a:ext>
            </a:extLst>
          </p:cNvPr>
          <p:cNvSpPr txBox="1"/>
          <p:nvPr userDrawn="1"/>
        </p:nvSpPr>
        <p:spPr>
          <a:xfrm>
            <a:off x="554736" y="96681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US" sz="800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id="{6FC9F96D-D74F-4064-BE66-104F69CCE92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942419" y="2133599"/>
            <a:ext cx="4065671" cy="7315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1600" dirty="0"/>
              <a:t>Above Chart Exhibit Title</a:t>
            </a:r>
          </a:p>
          <a:p>
            <a:pPr lvl="0" rtl="0"/>
            <a:r>
              <a:rPr lang="en-US" sz="16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879457"/>
            <a:ext cx="11082528" cy="12182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id="{AFAE54A0-4749-4FF2-8CA2-899886542DFC}"/>
              </a:ext>
            </a:extLst>
          </p:cNvPr>
          <p:cNvGrpSpPr/>
          <p:nvPr userDrawn="1"/>
        </p:nvGrpSpPr>
        <p:grpSpPr>
          <a:xfrm>
            <a:off x="10407321" y="4381500"/>
            <a:ext cx="962379" cy="1717282"/>
            <a:chOff x="7756825" y="4364041"/>
            <a:chExt cx="721784" cy="1717282"/>
          </a:xfrm>
        </p:grpSpPr>
        <p:sp>
          <p:nvSpPr>
            <p:cNvPr id="153" name="RectangleLegend1" hidden="1">
              <a:extLst>
                <a:ext uri="{FF2B5EF4-FFF2-40B4-BE49-F238E27FC236}">
                  <a16:creationId xmlns:a16="http://schemas.microsoft.com/office/drawing/2014/main" id="{9C6A0C1B-E4C7-42F3-A3EB-B853BB72883F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 hidden="1">
              <a:extLst>
                <a:ext uri="{FF2B5EF4-FFF2-40B4-BE49-F238E27FC236}">
                  <a16:creationId xmlns:a16="http://schemas.microsoft.com/office/drawing/2014/main" id="{0A7BF9DF-EA8D-4D79-99E5-CB5DD9FAE7CE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 hidden="1">
              <a:extLst>
                <a:ext uri="{FF2B5EF4-FFF2-40B4-BE49-F238E27FC236}">
                  <a16:creationId xmlns:a16="http://schemas.microsoft.com/office/drawing/2014/main" id="{70DEB118-14A8-4151-B6FB-CF7F0CA67EE0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 hidden="1">
              <a:extLst>
                <a:ext uri="{FF2B5EF4-FFF2-40B4-BE49-F238E27FC236}">
                  <a16:creationId xmlns:a16="http://schemas.microsoft.com/office/drawing/2014/main" id="{FB77CDDD-2A9C-4BFF-9AB5-2DC48EE227B4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 hidden="1">
              <a:extLst>
                <a:ext uri="{FF2B5EF4-FFF2-40B4-BE49-F238E27FC236}">
                  <a16:creationId xmlns:a16="http://schemas.microsoft.com/office/drawing/2014/main" id="{87B85520-1A99-4945-B115-DA746476E9B4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67" name="Legend1" hidden="1">
              <a:extLst>
                <a:ext uri="{FF2B5EF4-FFF2-40B4-BE49-F238E27FC236}">
                  <a16:creationId xmlns:a16="http://schemas.microsoft.com/office/drawing/2014/main" id="{7E99D7DD-2440-4860-9E3A-01638885500A}"/>
                </a:ext>
              </a:extLst>
            </p:cNvPr>
            <p:cNvSpPr txBox="1"/>
            <p:nvPr/>
          </p:nvSpPr>
          <p:spPr>
            <a:xfrm>
              <a:off x="8082971" y="4364041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8" name="Legend2" hidden="1">
              <a:extLst>
                <a:ext uri="{FF2B5EF4-FFF2-40B4-BE49-F238E27FC236}">
                  <a16:creationId xmlns:a16="http://schemas.microsoft.com/office/drawing/2014/main" id="{15208E65-09D9-4BF2-9F59-A6F0D472D5C2}"/>
                </a:ext>
              </a:extLst>
            </p:cNvPr>
            <p:cNvSpPr txBox="1"/>
            <p:nvPr/>
          </p:nvSpPr>
          <p:spPr>
            <a:xfrm>
              <a:off x="8082971" y="4743539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9" name="Legend3" hidden="1">
              <a:extLst>
                <a:ext uri="{FF2B5EF4-FFF2-40B4-BE49-F238E27FC236}">
                  <a16:creationId xmlns:a16="http://schemas.microsoft.com/office/drawing/2014/main" id="{DAA33242-73CE-4ED4-B9D6-211DF13ED526}"/>
                </a:ext>
              </a:extLst>
            </p:cNvPr>
            <p:cNvSpPr txBox="1"/>
            <p:nvPr/>
          </p:nvSpPr>
          <p:spPr>
            <a:xfrm>
              <a:off x="8082971" y="5123037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0" name="Legend4" hidden="1">
              <a:extLst>
                <a:ext uri="{FF2B5EF4-FFF2-40B4-BE49-F238E27FC236}">
                  <a16:creationId xmlns:a16="http://schemas.microsoft.com/office/drawing/2014/main" id="{7BCF1838-446B-4B5E-B364-BEBE6CC44536}"/>
                </a:ext>
              </a:extLst>
            </p:cNvPr>
            <p:cNvSpPr txBox="1"/>
            <p:nvPr/>
          </p:nvSpPr>
          <p:spPr>
            <a:xfrm>
              <a:off x="8082971" y="5494458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5" hidden="1">
              <a:extLst>
                <a:ext uri="{FF2B5EF4-FFF2-40B4-BE49-F238E27FC236}">
                  <a16:creationId xmlns:a16="http://schemas.microsoft.com/office/drawing/2014/main" id="{EA1A9BC0-9185-48F4-AE4E-ED7F7E354093}"/>
                </a:ext>
              </a:extLst>
            </p:cNvPr>
            <p:cNvSpPr txBox="1"/>
            <p:nvPr/>
          </p:nvSpPr>
          <p:spPr>
            <a:xfrm>
              <a:off x="8082970" y="5865879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id="{D0125471-324F-46BA-8B26-CFAF955C8D86}"/>
              </a:ext>
            </a:extLst>
          </p:cNvPr>
          <p:cNvGrpSpPr/>
          <p:nvPr userDrawn="1"/>
        </p:nvGrpSpPr>
        <p:grpSpPr>
          <a:xfrm>
            <a:off x="10020542" y="3222173"/>
            <a:ext cx="1349148" cy="958286"/>
            <a:chOff x="7495285" y="2235163"/>
            <a:chExt cx="1011861" cy="958286"/>
          </a:xfrm>
        </p:grpSpPr>
        <p:sp>
          <p:nvSpPr>
            <p:cNvPr id="173" name="Legend1" hidden="1">
              <a:extLst>
                <a:ext uri="{FF2B5EF4-FFF2-40B4-BE49-F238E27FC236}">
                  <a16:creationId xmlns:a16="http://schemas.microsoft.com/office/drawing/2014/main" id="{BD407C11-461A-4560-A407-0EC5640D7E7B}"/>
                </a:ext>
              </a:extLst>
            </p:cNvPr>
            <p:cNvSpPr txBox="1"/>
            <p:nvPr/>
          </p:nvSpPr>
          <p:spPr>
            <a:xfrm>
              <a:off x="8111508" y="2235163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egend2" hidden="1">
              <a:extLst>
                <a:ext uri="{FF2B5EF4-FFF2-40B4-BE49-F238E27FC236}">
                  <a16:creationId xmlns:a16="http://schemas.microsoft.com/office/drawing/2014/main" id="{EC0230C8-6382-4E0B-9409-0EABB727B928}"/>
                </a:ext>
              </a:extLst>
            </p:cNvPr>
            <p:cNvSpPr txBox="1"/>
            <p:nvPr/>
          </p:nvSpPr>
          <p:spPr>
            <a:xfrm>
              <a:off x="8111508" y="2606584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5" name="Legend3" hidden="1">
              <a:extLst>
                <a:ext uri="{FF2B5EF4-FFF2-40B4-BE49-F238E27FC236}">
                  <a16:creationId xmlns:a16="http://schemas.microsoft.com/office/drawing/2014/main" id="{A694686B-799E-4BF9-A067-FFF8801E12FC}"/>
                </a:ext>
              </a:extLst>
            </p:cNvPr>
            <p:cNvSpPr txBox="1"/>
            <p:nvPr/>
          </p:nvSpPr>
          <p:spPr>
            <a:xfrm>
              <a:off x="8111508" y="2978005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6" name="LineLegend3" hidden="1">
              <a:extLst>
                <a:ext uri="{FF2B5EF4-FFF2-40B4-BE49-F238E27FC236}">
                  <a16:creationId xmlns:a16="http://schemas.microsoft.com/office/drawing/2014/main" id="{D5C83114-D2A0-4FEF-800C-CFBCBAA307F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 dirty="0">
                <a:ea typeface="+mn-ea"/>
              </a:endParaRPr>
            </a:p>
          </p:txBody>
        </p:sp>
        <p:sp>
          <p:nvSpPr>
            <p:cNvPr id="177" name="LineLegend2" hidden="1">
              <a:extLst>
                <a:ext uri="{FF2B5EF4-FFF2-40B4-BE49-F238E27FC236}">
                  <a16:creationId xmlns:a16="http://schemas.microsoft.com/office/drawing/2014/main" id="{8AF42662-3E04-4C3E-A8CC-B9405F9560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 dirty="0">
                <a:ea typeface="+mn-ea"/>
              </a:endParaRPr>
            </a:p>
          </p:txBody>
        </p:sp>
        <p:sp>
          <p:nvSpPr>
            <p:cNvPr id="178" name="LineLegend1" hidden="1">
              <a:extLst>
                <a:ext uri="{FF2B5EF4-FFF2-40B4-BE49-F238E27FC236}">
                  <a16:creationId xmlns:a16="http://schemas.microsoft.com/office/drawing/2014/main" id="{B9F9FBCA-259E-40D0-BB73-4600905E4E6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 rtl="0"/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id="{329BC214-E2D4-48E5-A440-2E0D57EA74F0}"/>
              </a:ext>
            </a:extLst>
          </p:cNvPr>
          <p:cNvGrpSpPr/>
          <p:nvPr userDrawn="1"/>
        </p:nvGrpSpPr>
        <p:grpSpPr>
          <a:xfrm>
            <a:off x="10371996" y="1289274"/>
            <a:ext cx="997693" cy="1731859"/>
            <a:chOff x="7723680" y="1702457"/>
            <a:chExt cx="748270" cy="1731859"/>
          </a:xfrm>
        </p:grpSpPr>
        <p:sp>
          <p:nvSpPr>
            <p:cNvPr id="201" name="Legend1" hidden="1">
              <a:extLst>
                <a:ext uri="{FF2B5EF4-FFF2-40B4-BE49-F238E27FC236}">
                  <a16:creationId xmlns:a16="http://schemas.microsoft.com/office/drawing/2014/main" id="{C154B25A-61E5-4B5D-B835-2FD0F6CA93DD}"/>
                </a:ext>
              </a:extLst>
            </p:cNvPr>
            <p:cNvSpPr txBox="1"/>
            <p:nvPr/>
          </p:nvSpPr>
          <p:spPr>
            <a:xfrm>
              <a:off x="8076312" y="1709816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2" name="Legend2" hidden="1">
              <a:extLst>
                <a:ext uri="{FF2B5EF4-FFF2-40B4-BE49-F238E27FC236}">
                  <a16:creationId xmlns:a16="http://schemas.microsoft.com/office/drawing/2014/main" id="{E8570CE5-3695-4D09-B984-F9BAB5E41467}"/>
                </a:ext>
              </a:extLst>
            </p:cNvPr>
            <p:cNvSpPr txBox="1"/>
            <p:nvPr/>
          </p:nvSpPr>
          <p:spPr>
            <a:xfrm>
              <a:off x="8076312" y="2085275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3" name="Legend3" hidden="1">
              <a:extLst>
                <a:ext uri="{FF2B5EF4-FFF2-40B4-BE49-F238E27FC236}">
                  <a16:creationId xmlns:a16="http://schemas.microsoft.com/office/drawing/2014/main" id="{4F8E2E6C-FE6E-4D22-B2BB-EA33FA3E8BB9}"/>
                </a:ext>
              </a:extLst>
            </p:cNvPr>
            <p:cNvSpPr txBox="1"/>
            <p:nvPr/>
          </p:nvSpPr>
          <p:spPr>
            <a:xfrm>
              <a:off x="8076312" y="2460734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4" name="Legend4" hidden="1">
              <a:extLst>
                <a:ext uri="{FF2B5EF4-FFF2-40B4-BE49-F238E27FC236}">
                  <a16:creationId xmlns:a16="http://schemas.microsoft.com/office/drawing/2014/main" id="{152B3FE6-C8F3-480B-A232-945349E6FFB2}"/>
                </a:ext>
              </a:extLst>
            </p:cNvPr>
            <p:cNvSpPr txBox="1"/>
            <p:nvPr/>
          </p:nvSpPr>
          <p:spPr>
            <a:xfrm>
              <a:off x="8076312" y="2836193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5" name="Legend5" hidden="1">
              <a:extLst>
                <a:ext uri="{FF2B5EF4-FFF2-40B4-BE49-F238E27FC236}">
                  <a16:creationId xmlns:a16="http://schemas.microsoft.com/office/drawing/2014/main" id="{D6AE167C-EDD9-4024-AB50-2A380239C276}"/>
                </a:ext>
              </a:extLst>
            </p:cNvPr>
            <p:cNvSpPr txBox="1"/>
            <p:nvPr/>
          </p:nvSpPr>
          <p:spPr>
            <a:xfrm>
              <a:off x="8076312" y="3211654"/>
              <a:ext cx="39563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6" name="MoonLegend1" hidden="1">
              <a:extLst>
                <a:ext uri="{FF2B5EF4-FFF2-40B4-BE49-F238E27FC236}">
                  <a16:creationId xmlns:a16="http://schemas.microsoft.com/office/drawing/2014/main" id="{50D14B8A-EFBC-4C2B-83B8-487582EA182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53D058D1-1F71-411B-AA2B-B4E3834BFD3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5F538108-3806-4EF6-90AA-830B37FB99A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/>
              </a:p>
            </p:txBody>
          </p:sp>
        </p:grpSp>
        <p:grpSp>
          <p:nvGrpSpPr>
            <p:cNvPr id="207" name="MoonLegend2" hidden="1">
              <a:extLst>
                <a:ext uri="{FF2B5EF4-FFF2-40B4-BE49-F238E27FC236}">
                  <a16:creationId xmlns:a16="http://schemas.microsoft.com/office/drawing/2014/main" id="{16A0D1A9-0070-4D06-B6C4-262B5C8CB6D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9980B005-6158-420C-85FA-6DBF4F9FD15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477B7D80-5D37-4A20-969B-EC54521139F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/>
              </a:p>
            </p:txBody>
          </p:sp>
        </p:grpSp>
        <p:grpSp>
          <p:nvGrpSpPr>
            <p:cNvPr id="208" name="MoonLegend3" hidden="1">
              <a:extLst>
                <a:ext uri="{FF2B5EF4-FFF2-40B4-BE49-F238E27FC236}">
                  <a16:creationId xmlns:a16="http://schemas.microsoft.com/office/drawing/2014/main" id="{A1666A33-CA98-4D7F-8076-66AE5C0A02FB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F30983E8-31EE-43D3-B6A4-B3B55FF7571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A44D2857-8391-4466-A478-26ECF613C25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/>
              </a:p>
            </p:txBody>
          </p:sp>
        </p:grpSp>
        <p:grpSp>
          <p:nvGrpSpPr>
            <p:cNvPr id="209" name="MoonLegend4" hidden="1">
              <a:extLst>
                <a:ext uri="{FF2B5EF4-FFF2-40B4-BE49-F238E27FC236}">
                  <a16:creationId xmlns:a16="http://schemas.microsoft.com/office/drawing/2014/main" id="{0EDCD992-D2F8-430F-A2C1-64B7072FA8A4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 hidden="1">
                <a:extLst>
                  <a:ext uri="{FF2B5EF4-FFF2-40B4-BE49-F238E27FC236}">
                    <a16:creationId xmlns:a16="http://schemas.microsoft.com/office/drawing/2014/main" id="{88C4DEC9-0EDC-4E60-8FEB-7BF5A335DA6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 hidden="1">
                <a:extLst>
                  <a:ext uri="{FF2B5EF4-FFF2-40B4-BE49-F238E27FC236}">
                    <a16:creationId xmlns:a16="http://schemas.microsoft.com/office/drawing/2014/main" id="{A173ED00-390E-4377-9A01-A05493EEEC4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/>
              </a:p>
            </p:txBody>
          </p:sp>
        </p:grpSp>
        <p:grpSp>
          <p:nvGrpSpPr>
            <p:cNvPr id="210" name="MoonLegend5" hidden="1">
              <a:extLst>
                <a:ext uri="{FF2B5EF4-FFF2-40B4-BE49-F238E27FC236}">
                  <a16:creationId xmlns:a16="http://schemas.microsoft.com/office/drawing/2014/main" id="{344D2548-B65B-4DA2-AB7B-CD2885A9DC84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 hidden="1">
                <a:extLst>
                  <a:ext uri="{FF2B5EF4-FFF2-40B4-BE49-F238E27FC236}">
                    <a16:creationId xmlns:a16="http://schemas.microsoft.com/office/drawing/2014/main" id="{7E9242E3-9119-4EC8-B6D1-036E6EFFABC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 hidden="1">
                <a:extLst>
                  <a:ext uri="{FF2B5EF4-FFF2-40B4-BE49-F238E27FC236}">
                    <a16:creationId xmlns:a16="http://schemas.microsoft.com/office/drawing/2014/main" id="{F5689487-9179-445E-B6D8-CCBBB4553C8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sz="1400" dirty="0"/>
              </a:p>
            </p:txBody>
          </p:sp>
        </p:grpSp>
      </p:grpSp>
      <p:pic>
        <p:nvPicPr>
          <p:cNvPr id="143" name="Picture 142">
            <a:extLst>
              <a:ext uri="{FF2B5EF4-FFF2-40B4-BE49-F238E27FC236}">
                <a16:creationId xmlns:a16="http://schemas.microsoft.com/office/drawing/2014/main" id="{2D97A186-2504-4CBF-87B8-76468F803895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6813" y="417052"/>
            <a:ext cx="1450451" cy="434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950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  <p:sldLayoutId id="2147483858" r:id="rId12"/>
    <p:sldLayoutId id="2147483859" r:id="rId13"/>
    <p:sldLayoutId id="2147483860" r:id="rId14"/>
    <p:sldLayoutId id="2147483861" r:id="rId15"/>
    <p:sldLayoutId id="2147483862" r:id="rId16"/>
    <p:sldLayoutId id="2147483863" r:id="rId17"/>
  </p:sldLayoutIdLst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30400" indent="-230400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9200" indent="-208800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04800" indent="-154800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600" indent="-147600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212648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  <a:endParaRPr lang="en-US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1872797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872797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ED72A14-997E-43A1-8277-64E43B8C35F3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9B15371-13C6-4FC5-A65B-0EDE237980EC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E5B7F2A-8FB0-41B4-8C1B-EA8A313794A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D743921E-6D1E-4571-B683-6DAA333BDEC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FF5ED0A-DB5E-486D-948E-C524BDCBA3F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03D44525-7618-42C3-A26B-9CC5DF2D256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32E0E44-FAA6-4DC8-BBFA-E67911DFBAD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E447D4-D1F3-48FC-A5DF-CC5107A778A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99225C-33E4-450B-9E02-9EAE6097820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44D8867-620D-4691-A0DD-79E16FC985B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8597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  <p:sldLayoutId id="2147483879" r:id="rId12"/>
    <p:sldLayoutId id="2147483880" r:id="rId13"/>
    <p:sldLayoutId id="2147483881" r:id="rId14"/>
    <p:sldLayoutId id="2147483882" r:id="rId15"/>
    <p:sldLayoutId id="2147483883" r:id="rId16"/>
    <p:sldLayoutId id="2147483884" r:id="rId17"/>
    <p:sldLayoutId id="2147483893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CDCC967-318F-4E78-9448-E44785DAE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47691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CDCC967-318F-4E78-9448-E44785DAE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6F27741-F067-4EB8-A240-0E213C7D89C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C3B351-9E68-EC4E-81FB-BC773609B5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8553" y="1825625"/>
            <a:ext cx="10515600" cy="160712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DDEE96-9944-0449-B0A3-D18C350A1B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84835" y="224520"/>
            <a:ext cx="428609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400" b="1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pPr algn="l"/>
            <a:fld id="{5C7892DB-DEDB-A440-9305-CDECCE7FBDC0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2F0A03E9-83A0-4543-8F49-8F49D56CBF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10515600" cy="537986"/>
          </a:xfrm>
          <a:prstGeom prst="rect">
            <a:avLst/>
          </a:prstGeom>
        </p:spPr>
        <p:txBody>
          <a:bodyPr vert="horz" lIns="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E08A616-D74D-8B4E-BF1E-2594B72F7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8553" y="6333772"/>
            <a:ext cx="41148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0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 sz="100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7BB6DB9-BC38-4041-ABCF-F4B4FFE4604A}"/>
              </a:ext>
            </a:extLst>
          </p:cNvPr>
          <p:cNvCxnSpPr/>
          <p:nvPr userDrawn="1"/>
        </p:nvCxnSpPr>
        <p:spPr>
          <a:xfrm>
            <a:off x="569843" y="622854"/>
            <a:ext cx="425394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7923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Courier New" panose="02070309020205020404" pitchFamily="49" charset="0"/>
        <a:buChar char="o"/>
        <a:tabLst/>
        <a:defRPr sz="16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401638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2000"/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582613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2000"/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752475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SzPct val="102000"/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920750" indent="-168275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accent2"/>
        </a:buClr>
        <a:buSzPct val="102000"/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865187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A08E557-10DB-421A-876E-1AE58F8E07C4}"/>
              </a:ext>
            </a:extLst>
          </p:cNvPr>
          <p:cNvSpPr/>
          <p:nvPr/>
        </p:nvSpPr>
        <p:spPr>
          <a:xfrm>
            <a:off x="8839807" y="3732560"/>
            <a:ext cx="3352193" cy="312544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EBCA0-8609-4F35-8CA7-7AD35FDACD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400" y="6434560"/>
            <a:ext cx="34280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pc="5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IN" sz="1000"/>
              <a:t>Maldives Joint COVID-19 and HPV Vaccines PIE: December 2021</a:t>
            </a:r>
            <a:endParaRPr lang="en-US" sz="1000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DA9639-38D2-4CD4-A861-F6B4C6CB9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8775" y="590372"/>
            <a:ext cx="10202248" cy="13258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AF00B1-16C1-47B3-A7A0-B714683128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8825" y="1916262"/>
            <a:ext cx="10192198" cy="4133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CF9501-5B6B-4DAF-B59D-3C129ED805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17000" y="6433202"/>
            <a:ext cx="2374150" cy="3678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spc="50" baseline="0">
                <a:solidFill>
                  <a:srgbClr val="FFFFFF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685DBD-B7AE-41D8-8CF1-B21CD58E1B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1150" y="6433203"/>
            <a:ext cx="693263" cy="36784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FFFFF"/>
                </a:solidFill>
                <a:latin typeface="+mj-lt"/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539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5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2736">
          <p15:clr>
            <a:srgbClr val="F26B43"/>
          </p15:clr>
        </p15:guide>
        <p15:guide id="4" orient="horz" pos="3312">
          <p15:clr>
            <a:srgbClr val="F26B43"/>
          </p15:clr>
        </p15:guide>
        <p15:guide id="5" orient="horz" pos="432">
          <p15:clr>
            <a:srgbClr val="F26B43"/>
          </p15:clr>
        </p15:guide>
        <p15:guide id="7" pos="4416">
          <p15:clr>
            <a:srgbClr val="F26B43"/>
          </p15:clr>
        </p15:guide>
        <p15:guide id="8" pos="5568">
          <p15:clr>
            <a:srgbClr val="F26B43"/>
          </p15:clr>
        </p15:guide>
        <p15:guide id="9" pos="7296">
          <p15:clr>
            <a:srgbClr val="F26B43"/>
          </p15:clr>
        </p15:guide>
        <p15:guide id="10" pos="2688">
          <p15:clr>
            <a:srgbClr val="F26B43"/>
          </p15:clr>
        </p15:guide>
        <p15:guide id="11" pos="1536">
          <p15:clr>
            <a:srgbClr val="F26B43"/>
          </p15:clr>
        </p15:guide>
        <p15:guide id="12" pos="384">
          <p15:clr>
            <a:srgbClr val="F26B43"/>
          </p15:clr>
        </p15:guide>
        <p15:guide id="13" pos="2112">
          <p15:clr>
            <a:srgbClr val="F26B43"/>
          </p15:clr>
        </p15:guide>
        <p15:guide id="14" pos="4992">
          <p15:clr>
            <a:srgbClr val="F26B43"/>
          </p15:clr>
        </p15:guide>
        <p15:guide id="15" pos="6720">
          <p15:clr>
            <a:srgbClr val="F26B43"/>
          </p15:clr>
        </p15:guide>
        <p15:guide id="16" pos="960">
          <p15:clr>
            <a:srgbClr val="F26B43"/>
          </p15:clr>
        </p15:guide>
        <p15:guide id="17" pos="3264">
          <p15:clr>
            <a:srgbClr val="F26B43"/>
          </p15:clr>
        </p15:guide>
        <p15:guide id="18" orient="horz" pos="1008">
          <p15:clr>
            <a:srgbClr val="F26B43"/>
          </p15:clr>
        </p15:guide>
        <p15:guide id="19" orient="horz" pos="3888">
          <p15:clr>
            <a:srgbClr val="F26B43"/>
          </p15:clr>
        </p15:guide>
        <p15:guide id="20" pos="6144">
          <p15:clr>
            <a:srgbClr val="F26B43"/>
          </p15:clr>
        </p15:guide>
        <p15:guide id="21" orient="horz" pos="1584">
          <p15:clr>
            <a:srgbClr val="F26B43"/>
          </p15:clr>
        </p15:guide>
        <p15:guide id="22" pos="576">
          <p15:clr>
            <a:srgbClr val="F26B43"/>
          </p15:clr>
        </p15:guide>
        <p15:guide id="23" pos="7104">
          <p15:clr>
            <a:srgbClr val="F26B43"/>
          </p15:clr>
        </p15:guide>
        <p15:guide id="24" pos="768">
          <p15:clr>
            <a:srgbClr val="F26B43"/>
          </p15:clr>
        </p15:guide>
        <p15:guide id="25" pos="6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6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16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6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6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6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6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6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6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6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6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6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16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16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175.xml"/><Relationship Id="rId6" Type="http://schemas.openxmlformats.org/officeDocument/2006/relationships/image" Target="../media/image95.jpeg"/><Relationship Id="rId5" Type="http://schemas.openxmlformats.org/officeDocument/2006/relationships/image" Target="../media/image94.jpeg"/><Relationship Id="rId4" Type="http://schemas.openxmlformats.org/officeDocument/2006/relationships/image" Target="../media/image9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6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6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6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jpe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68.xml"/><Relationship Id="rId6" Type="http://schemas.openxmlformats.org/officeDocument/2006/relationships/image" Target="../media/image62.jpeg"/><Relationship Id="rId11" Type="http://schemas.openxmlformats.org/officeDocument/2006/relationships/image" Target="../media/image67.jpeg"/><Relationship Id="rId5" Type="http://schemas.openxmlformats.org/officeDocument/2006/relationships/image" Target="../media/image61.jpeg"/><Relationship Id="rId10" Type="http://schemas.openxmlformats.org/officeDocument/2006/relationships/image" Target="../media/image66.jpeg"/><Relationship Id="rId4" Type="http://schemas.openxmlformats.org/officeDocument/2006/relationships/image" Target="../media/image60.png"/><Relationship Id="rId9" Type="http://schemas.openxmlformats.org/officeDocument/2006/relationships/image" Target="../media/image6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Freeform: Shape 47">
            <a:extLst>
              <a:ext uri="{FF2B5EF4-FFF2-40B4-BE49-F238E27FC236}">
                <a16:creationId xmlns:a16="http://schemas.microsoft.com/office/drawing/2014/main" id="{7A08E557-10DB-421A-876E-1AE58F8E07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4703" y="3732560"/>
            <a:ext cx="3352193" cy="312544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 useBgFill="1">
        <p:nvSpPr>
          <p:cNvPr id="64" name="Rectangle 49">
            <a:extLst>
              <a:ext uri="{FF2B5EF4-FFF2-40B4-BE49-F238E27FC236}">
                <a16:creationId xmlns:a16="http://schemas.microsoft.com/office/drawing/2014/main" id="{DADB9A0B-5BEE-4811-B9BE-434966B3DD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7" name="Google Shape;84;g10eeb4bccd5_0_0" descr="A picture containing text&#10;&#10;Description automatically generated">
            <a:extLst>
              <a:ext uri="{FF2B5EF4-FFF2-40B4-BE49-F238E27FC236}">
                <a16:creationId xmlns:a16="http://schemas.microsoft.com/office/drawing/2014/main" id="{2A1C6836-A0A8-4D8F-94CE-A7DDC2CFD443}"/>
              </a:ext>
            </a:extLst>
          </p:cNvPr>
          <p:cNvPicPr preferRelativeResize="0"/>
          <p:nvPr/>
        </p:nvPicPr>
        <p:blipFill rotWithShape="1">
          <a:blip r:embed="rId2"/>
          <a:srcRect t="243" r="-1" b="-1"/>
          <a:stretch/>
        </p:blipFill>
        <p:spPr>
          <a:xfrm>
            <a:off x="-29672" y="10"/>
            <a:ext cx="12221671" cy="6857989"/>
          </a:xfrm>
          <a:prstGeom prst="rect">
            <a:avLst/>
          </a:prstGeom>
          <a:noFill/>
        </p:spPr>
      </p:pic>
      <p:sp>
        <p:nvSpPr>
          <p:cNvPr id="65" name="Freeform: Shape 51">
            <a:extLst>
              <a:ext uri="{FF2B5EF4-FFF2-40B4-BE49-F238E27FC236}">
                <a16:creationId xmlns:a16="http://schemas.microsoft.com/office/drawing/2014/main" id="{86FAFD5A-982D-4A23-BE62-6332580A8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-29673" y="-7875"/>
            <a:ext cx="3352193" cy="312544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lumMod val="7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66" name="Freeform: Shape 53">
            <a:extLst>
              <a:ext uri="{FF2B5EF4-FFF2-40B4-BE49-F238E27FC236}">
                <a16:creationId xmlns:a16="http://schemas.microsoft.com/office/drawing/2014/main" id="{5537EB9A-A190-4BBE-8731-EF4F640D2D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9600" y="4346192"/>
            <a:ext cx="11582399" cy="2514603"/>
          </a:xfrm>
          <a:custGeom>
            <a:avLst/>
            <a:gdLst>
              <a:gd name="connsiteX0" fmla="*/ 3766723 w 11582399"/>
              <a:gd name="connsiteY0" fmla="*/ 0 h 2514603"/>
              <a:gd name="connsiteX1" fmla="*/ 11582399 w 11582399"/>
              <a:gd name="connsiteY1" fmla="*/ 0 h 2514603"/>
              <a:gd name="connsiteX2" fmla="*/ 11582399 w 11582399"/>
              <a:gd name="connsiteY2" fmla="*/ 2514602 h 2514603"/>
              <a:gd name="connsiteX3" fmla="*/ 8231814 w 11582399"/>
              <a:gd name="connsiteY3" fmla="*/ 2514602 h 2514603"/>
              <a:gd name="connsiteX4" fmla="*/ 8231814 w 11582399"/>
              <a:gd name="connsiteY4" fmla="*/ 2514603 h 2514603"/>
              <a:gd name="connsiteX5" fmla="*/ 0 w 11582399"/>
              <a:gd name="connsiteY5" fmla="*/ 2514603 h 2514603"/>
              <a:gd name="connsiteX6" fmla="*/ 0 w 11582399"/>
              <a:gd name="connsiteY6" fmla="*/ 2453759 h 2514603"/>
              <a:gd name="connsiteX7" fmla="*/ 0 w 11582399"/>
              <a:gd name="connsiteY7" fmla="*/ 2436722 h 2514603"/>
              <a:gd name="connsiteX8" fmla="*/ 861 w 11582399"/>
              <a:gd name="connsiteY8" fmla="*/ 2436722 h 2514603"/>
              <a:gd name="connsiteX9" fmla="*/ 12668 w 11582399"/>
              <a:gd name="connsiteY9" fmla="*/ 2202877 h 2514603"/>
              <a:gd name="connsiteX10" fmla="*/ 2453759 w 11582399"/>
              <a:gd name="connsiteY10" fmla="*/ 1 h 2514603"/>
              <a:gd name="connsiteX11" fmla="*/ 2564348 w 11582399"/>
              <a:gd name="connsiteY11" fmla="*/ 2797 h 2514603"/>
              <a:gd name="connsiteX12" fmla="*/ 3766723 w 11582399"/>
              <a:gd name="connsiteY12" fmla="*/ 2797 h 2514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582399" h="2514603">
                <a:moveTo>
                  <a:pt x="3766723" y="0"/>
                </a:moveTo>
                <a:lnTo>
                  <a:pt x="11582399" y="0"/>
                </a:lnTo>
                <a:lnTo>
                  <a:pt x="11582399" y="2514602"/>
                </a:lnTo>
                <a:lnTo>
                  <a:pt x="8231814" y="2514602"/>
                </a:lnTo>
                <a:lnTo>
                  <a:pt x="8231814" y="2514603"/>
                </a:lnTo>
                <a:lnTo>
                  <a:pt x="0" y="2514603"/>
                </a:lnTo>
                <a:lnTo>
                  <a:pt x="0" y="2453759"/>
                </a:lnTo>
                <a:lnTo>
                  <a:pt x="0" y="2436722"/>
                </a:lnTo>
                <a:lnTo>
                  <a:pt x="861" y="2436722"/>
                </a:lnTo>
                <a:lnTo>
                  <a:pt x="12668" y="2202877"/>
                </a:lnTo>
                <a:cubicBezTo>
                  <a:pt x="138326" y="965555"/>
                  <a:pt x="1183284" y="1"/>
                  <a:pt x="2453759" y="1"/>
                </a:cubicBezTo>
                <a:lnTo>
                  <a:pt x="2564348" y="2797"/>
                </a:lnTo>
                <a:lnTo>
                  <a:pt x="3766723" y="2797"/>
                </a:ln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67" name="Freeform: Shape 55">
            <a:extLst>
              <a:ext uri="{FF2B5EF4-FFF2-40B4-BE49-F238E27FC236}">
                <a16:creationId xmlns:a16="http://schemas.microsoft.com/office/drawing/2014/main" id="{EEC0FAB6-9835-4DB8-A338-23665E265F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663394" y="0"/>
            <a:ext cx="4528607" cy="6858000"/>
          </a:xfrm>
          <a:custGeom>
            <a:avLst/>
            <a:gdLst>
              <a:gd name="connsiteX0" fmla="*/ 3611850 w 4528607"/>
              <a:gd name="connsiteY0" fmla="*/ 0 h 6858000"/>
              <a:gd name="connsiteX1" fmla="*/ 4528607 w 4528607"/>
              <a:gd name="connsiteY1" fmla="*/ 0 h 6858000"/>
              <a:gd name="connsiteX2" fmla="*/ 4528607 w 4528607"/>
              <a:gd name="connsiteY2" fmla="*/ 6858000 h 6858000"/>
              <a:gd name="connsiteX3" fmla="*/ 0 w 4528607"/>
              <a:gd name="connsiteY3" fmla="*/ 6858000 h 6858000"/>
              <a:gd name="connsiteX4" fmla="*/ 157749 w 4528607"/>
              <a:gd name="connsiteY4" fmla="*/ 6846005 h 6858000"/>
              <a:gd name="connsiteX5" fmla="*/ 3612770 w 4528607"/>
              <a:gd name="connsiteY5" fmla="*/ 3017366 h 6858000"/>
              <a:gd name="connsiteX6" fmla="*/ 3611350 w 4528607"/>
              <a:gd name="connsiteY6" fmla="*/ 2961216 h 6858000"/>
              <a:gd name="connsiteX7" fmla="*/ 3611850 w 4528607"/>
              <a:gd name="connsiteY7" fmla="*/ 2961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28607" h="6858000">
                <a:moveTo>
                  <a:pt x="3611850" y="0"/>
                </a:moveTo>
                <a:lnTo>
                  <a:pt x="4528607" y="0"/>
                </a:lnTo>
                <a:lnTo>
                  <a:pt x="4528607" y="6858000"/>
                </a:lnTo>
                <a:lnTo>
                  <a:pt x="0" y="6858000"/>
                </a:lnTo>
                <a:lnTo>
                  <a:pt x="157749" y="6846005"/>
                </a:lnTo>
                <a:cubicBezTo>
                  <a:pt x="2098384" y="6648923"/>
                  <a:pt x="3612770" y="5009996"/>
                  <a:pt x="3612770" y="3017366"/>
                </a:cubicBezTo>
                <a:lnTo>
                  <a:pt x="3611350" y="2961216"/>
                </a:lnTo>
                <a:lnTo>
                  <a:pt x="3611850" y="2961216"/>
                </a:lnTo>
                <a:close/>
              </a:path>
            </a:pathLst>
          </a:custGeom>
          <a:solidFill>
            <a:schemeClr val="accent2">
              <a:lumMod val="75000"/>
              <a:alpha val="6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0" name="Title 29">
            <a:extLst>
              <a:ext uri="{FF2B5EF4-FFF2-40B4-BE49-F238E27FC236}">
                <a16:creationId xmlns:a16="http://schemas.microsoft.com/office/drawing/2014/main" id="{9DAE0213-8971-4F41-9E3D-5FCCD40DC2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34164" y="4622800"/>
            <a:ext cx="8136557" cy="1554479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US" sz="1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ishath Thimna Latheef</a:t>
            </a:r>
            <a:br>
              <a:rPr lang="en-US" sz="1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tional Professional Officer, WHO Maldives</a:t>
            </a:r>
            <a:br>
              <a:rPr lang="en-US" sz="1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br>
              <a:rPr lang="en-US" sz="1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r Lokesh Alahari</a:t>
            </a:r>
            <a:br>
              <a:rPr lang="en-US" sz="1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sultant, WHO Maldives</a:t>
            </a:r>
          </a:p>
        </p:txBody>
      </p:sp>
    </p:spTree>
    <p:extLst>
      <p:ext uri="{BB962C8B-B14F-4D97-AF65-F5344CB8AC3E}">
        <p14:creationId xmlns:p14="http://schemas.microsoft.com/office/powerpoint/2010/main" val="12210590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1">
            <a:extLst>
              <a:ext uri="{FF2B5EF4-FFF2-40B4-BE49-F238E27FC236}">
                <a16:creationId xmlns:a16="http://schemas.microsoft.com/office/drawing/2014/main" id="{4B81A0BA-16CC-4B81-8085-B2D25C9637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1" name="Rectangle 13">
            <a:extLst>
              <a:ext uri="{FF2B5EF4-FFF2-40B4-BE49-F238E27FC236}">
                <a16:creationId xmlns:a16="http://schemas.microsoft.com/office/drawing/2014/main" id="{27E5507D-EF5C-4996-B981-54DCF94453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203942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503742"/>
            <a:ext cx="9914859" cy="1281254"/>
          </a:xfrm>
        </p:spPr>
        <p:txBody>
          <a:bodyPr>
            <a:normAutofit/>
          </a:bodyPr>
          <a:lstStyle/>
          <a:p>
            <a:r>
              <a:rPr lang="en-US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Key Strengths (1)</a:t>
            </a:r>
            <a:endParaRPr lang="en-IN">
              <a:solidFill>
                <a:srgbClr val="FFFFFF"/>
              </a:solidFill>
            </a:endParaRPr>
          </a:p>
        </p:txBody>
      </p:sp>
      <p:pic>
        <p:nvPicPr>
          <p:cNvPr id="6" name="Google Shape;176;p73">
            <a:extLst>
              <a:ext uri="{FF2B5EF4-FFF2-40B4-BE49-F238E27FC236}">
                <a16:creationId xmlns:a16="http://schemas.microsoft.com/office/drawing/2014/main" id="{3E3ECFBF-1F71-450F-9103-ADCD43F2A717}"/>
              </a:ext>
            </a:extLst>
          </p:cNvPr>
          <p:cNvPicPr preferRelativeResize="0"/>
          <p:nvPr/>
        </p:nvPicPr>
        <p:blipFill rotWithShape="1">
          <a:blip r:embed="rId2"/>
          <a:srcRect l="11540" r="-3" b="-3"/>
          <a:stretch/>
        </p:blipFill>
        <p:spPr>
          <a:xfrm>
            <a:off x="-4265" y="2128962"/>
            <a:ext cx="3369009" cy="2399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Google Shape;177;p73">
            <a:extLst>
              <a:ext uri="{FF2B5EF4-FFF2-40B4-BE49-F238E27FC236}">
                <a16:creationId xmlns:a16="http://schemas.microsoft.com/office/drawing/2014/main" id="{9FCBB2A0-A8EB-495A-BD2A-8CA9DEF4002F}"/>
              </a:ext>
            </a:extLst>
          </p:cNvPr>
          <p:cNvPicPr preferRelativeResize="0"/>
          <p:nvPr/>
        </p:nvPicPr>
        <p:blipFill rotWithShape="1">
          <a:blip r:embed="rId3"/>
          <a:srcRect l="5176" r="-1" b="-1"/>
          <a:stretch/>
        </p:blipFill>
        <p:spPr>
          <a:xfrm>
            <a:off x="1" y="4507173"/>
            <a:ext cx="3364743" cy="23508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2804" y="2249680"/>
            <a:ext cx="7874083" cy="4385569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SzPts val="2400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Exemplary planning in deployment of COVID-19 vaccines</a:t>
            </a:r>
            <a:endParaRPr lang="en-IN" dirty="0">
              <a:sym typeface="Calibri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SzPts val="2400"/>
            </a:pPr>
            <a:endParaRPr lang="en-IN" b="0" i="0" u="none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SzPts val="2400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Maldives Food and Drug Authority (MFDA) was able to fast track and expedite authorization guided by WHO</a:t>
            </a:r>
            <a:endParaRPr lang="en-IN" dirty="0">
              <a:latin typeface="Calibri"/>
              <a:ea typeface="Calibri"/>
              <a:cs typeface="Calibri"/>
              <a:sym typeface="Calibri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SzPts val="2400"/>
            </a:pPr>
            <a:endParaRPr lang="en-IN" b="0" i="0" u="none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SzPts val="2400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NDVP available and updated</a:t>
            </a:r>
            <a:endParaRPr lang="en-IN" dirty="0">
              <a:sym typeface="Calibri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SzPts val="2400"/>
            </a:pPr>
            <a:endParaRPr lang="en-IN" b="0" i="0" u="none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SzPts val="2400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Equity based vaccine roll out, with inclusion of all residents including expatriates and undocumented migrants</a:t>
            </a:r>
            <a:endParaRPr lang="en-IN" dirty="0">
              <a:sym typeface="Calibri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SzPts val="2400"/>
            </a:pPr>
            <a:endParaRPr lang="en-IN" b="0" i="0" u="none" strike="noStrike" cap="none" dirty="0">
              <a:latin typeface="Calibri"/>
              <a:ea typeface="Calibri"/>
              <a:cs typeface="Calibri"/>
              <a:sym typeface="Calibri"/>
            </a:endParaRPr>
          </a:p>
          <a:p>
            <a:pPr>
              <a:lnSpc>
                <a:spcPct val="110000"/>
              </a:lnSpc>
              <a:spcBef>
                <a:spcPts val="0"/>
              </a:spcBef>
              <a:buClr>
                <a:srgbClr val="000000"/>
              </a:buClr>
              <a:buSzPts val="2400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Prioritization of </a:t>
            </a:r>
            <a:r>
              <a:rPr lang="en-IN" dirty="0">
                <a:latin typeface="Calibri"/>
                <a:ea typeface="Calibri"/>
                <a:cs typeface="Calibri"/>
                <a:sym typeface="Calibri"/>
              </a:rPr>
              <a:t>beneficiary</a:t>
            </a: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 groups were in line with the SAGE prioritization roadmap</a:t>
            </a:r>
            <a:endParaRPr lang="en-IN" b="0" i="0" u="none" strike="noStrike" cap="none" dirty="0">
              <a:latin typeface="Calibri"/>
              <a:ea typeface="Calibri"/>
              <a:cs typeface="Calibri"/>
            </a:endParaRPr>
          </a:p>
          <a:p>
            <a:pPr>
              <a:lnSpc>
                <a:spcPct val="110000"/>
              </a:lnSpc>
            </a:pPr>
            <a:endParaRPr lang="en-IN" dirty="0"/>
          </a:p>
        </p:txBody>
      </p:sp>
      <p:sp>
        <p:nvSpPr>
          <p:cNvPr id="22" name="Freeform: Shape 15">
            <a:extLst>
              <a:ext uri="{FF2B5EF4-FFF2-40B4-BE49-F238E27FC236}">
                <a16:creationId xmlns:a16="http://schemas.microsoft.com/office/drawing/2014/main" id="{4ED13649-024C-4DF3-8430-AF1E68511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4088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3" name="Freeform: Shape 17">
            <a:extLst>
              <a:ext uri="{FF2B5EF4-FFF2-40B4-BE49-F238E27FC236}">
                <a16:creationId xmlns:a16="http://schemas.microsoft.com/office/drawing/2014/main" id="{0021CDA5-A680-4335-B921-39A7F681C5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8353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2" name="Footer Placeholder 13">
            <a:extLst>
              <a:ext uri="{FF2B5EF4-FFF2-40B4-BE49-F238E27FC236}">
                <a16:creationId xmlns:a16="http://schemas.microsoft.com/office/drawing/2014/main" id="{A2212609-B9A9-4417-BE8A-189E27EE0D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744" y="6510200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99912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7">
            <a:extLst>
              <a:ext uri="{FF2B5EF4-FFF2-40B4-BE49-F238E27FC236}">
                <a16:creationId xmlns:a16="http://schemas.microsoft.com/office/drawing/2014/main" id="{4B81A0BA-16CC-4B81-8085-B2D25C9637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6" name="Rectangle 29">
            <a:extLst>
              <a:ext uri="{FF2B5EF4-FFF2-40B4-BE49-F238E27FC236}">
                <a16:creationId xmlns:a16="http://schemas.microsoft.com/office/drawing/2014/main" id="{27E5507D-EF5C-4996-B981-54DCF94453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203942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503742"/>
            <a:ext cx="9914859" cy="1281254"/>
          </a:xfrm>
        </p:spPr>
        <p:txBody>
          <a:bodyPr>
            <a:normAutofit/>
          </a:bodyPr>
          <a:lstStyle/>
          <a:p>
            <a:r>
              <a:rPr lang="en-US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Key Strengths (2)</a:t>
            </a:r>
            <a:endParaRPr lang="en-IN" dirty="0">
              <a:solidFill>
                <a:srgbClr val="FFFFFF"/>
              </a:solidFill>
            </a:endParaRPr>
          </a:p>
        </p:txBody>
      </p:sp>
      <p:pic>
        <p:nvPicPr>
          <p:cNvPr id="12" name="Google Shape;184;p74">
            <a:extLst>
              <a:ext uri="{FF2B5EF4-FFF2-40B4-BE49-F238E27FC236}">
                <a16:creationId xmlns:a16="http://schemas.microsoft.com/office/drawing/2014/main" id="{3606F81B-8088-4477-B0BB-BD291758D32C}"/>
              </a:ext>
            </a:extLst>
          </p:cNvPr>
          <p:cNvPicPr preferRelativeResize="0"/>
          <p:nvPr/>
        </p:nvPicPr>
        <p:blipFill rotWithShape="1">
          <a:blip r:embed="rId2"/>
          <a:srcRect r="6271" b="-4"/>
          <a:stretch/>
        </p:blipFill>
        <p:spPr>
          <a:xfrm>
            <a:off x="-4265" y="2128962"/>
            <a:ext cx="3369009" cy="2399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Google Shape;185;p74">
            <a:extLst>
              <a:ext uri="{FF2B5EF4-FFF2-40B4-BE49-F238E27FC236}">
                <a16:creationId xmlns:a16="http://schemas.microsoft.com/office/drawing/2014/main" id="{7FCCF16A-D97B-4304-9021-82FDD1D4B384}"/>
              </a:ext>
            </a:extLst>
          </p:cNvPr>
          <p:cNvPicPr preferRelativeResize="0"/>
          <p:nvPr/>
        </p:nvPicPr>
        <p:blipFill rotWithShape="1">
          <a:blip r:embed="rId3"/>
          <a:srcRect l="4140" r="325" b="5"/>
          <a:stretch/>
        </p:blipFill>
        <p:spPr>
          <a:xfrm>
            <a:off x="1" y="4507173"/>
            <a:ext cx="3364743" cy="23508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4744" y="2293802"/>
            <a:ext cx="8098944" cy="4140722"/>
          </a:xfrm>
        </p:spPr>
        <p:txBody>
          <a:bodyPr>
            <a:normAutofit/>
          </a:bodyPr>
          <a:lstStyle/>
          <a:p>
            <a:pPr marL="285750" marR="0" lvl="0" indent="-28575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roactive efforts in securing vaccine supplies</a:t>
            </a:r>
            <a:endParaRPr lang="en-US" sz="1800" dirty="0"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  <a:p>
            <a:pPr marL="285750" marR="0" lvl="0" indent="-28575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endParaRPr lang="en-US" sz="1800" b="0" i="0" u="none" strike="noStrike" cap="none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marR="0" lvl="0" indent="-28575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Continuous guidance and monitoring from MTAGI and AEFI Committee</a:t>
            </a:r>
            <a:endParaRPr lang="en-US" sz="18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marR="0" lvl="0" indent="-28575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endParaRPr lang="en-US" sz="18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marR="0" lvl="0" indent="-28575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High vaccine acceptance due to proactive communication and  public trust in health system</a:t>
            </a:r>
          </a:p>
          <a:p>
            <a:pPr marL="285750" marR="0" lvl="0" indent="-28575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endParaRPr lang="en-US" sz="1800" b="0" i="0" u="none" strike="noStrike" cap="none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lvl="0" indent="-285750">
              <a:lnSpc>
                <a:spcPct val="110000"/>
              </a:lnSpc>
              <a:spcBef>
                <a:spcPts val="600"/>
              </a:spcBef>
              <a:buClr>
                <a:schemeClr val="dk1"/>
              </a:buClr>
              <a:buSzPts val="2000"/>
              <a:buFont typeface="Arial"/>
              <a:buChar char="•"/>
            </a:pPr>
            <a:r>
              <a:rPr lang="en-IN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Rapid </a:t>
            </a:r>
            <a:r>
              <a:rPr lang="en-IN" sz="18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dissemination of information </a:t>
            </a:r>
            <a:r>
              <a:rPr lang="en-IN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and training materials to field staff through viber and google drive</a:t>
            </a:r>
          </a:p>
          <a:p>
            <a:pPr marL="285750" marR="0" lvl="0" indent="-28575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endParaRPr lang="en-IN" sz="18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marR="0" lvl="0" indent="-28575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IN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Good use of virtual communications at all levels during lockdowns</a:t>
            </a:r>
            <a:endParaRPr lang="en-IN" sz="18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27" name="Freeform: Shape 31">
            <a:extLst>
              <a:ext uri="{FF2B5EF4-FFF2-40B4-BE49-F238E27FC236}">
                <a16:creationId xmlns:a16="http://schemas.microsoft.com/office/drawing/2014/main" id="{4ED13649-024C-4DF3-8430-AF1E68511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4088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9" name="Freeform: Shape 33">
            <a:extLst>
              <a:ext uri="{FF2B5EF4-FFF2-40B4-BE49-F238E27FC236}">
                <a16:creationId xmlns:a16="http://schemas.microsoft.com/office/drawing/2014/main" id="{0021CDA5-A680-4335-B921-39A7F681C5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8353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5" name="Footer Placeholder 13">
            <a:extLst>
              <a:ext uri="{FF2B5EF4-FFF2-40B4-BE49-F238E27FC236}">
                <a16:creationId xmlns:a16="http://schemas.microsoft.com/office/drawing/2014/main" id="{FA32B393-513E-433A-8B41-3F1EF021E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744" y="6510200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67181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4B81A0BA-16CC-4B81-8085-B2D25C9637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E5507D-EF5C-4996-B981-54DCF94453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203942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503742"/>
            <a:ext cx="9914859" cy="1281254"/>
          </a:xfrm>
        </p:spPr>
        <p:txBody>
          <a:bodyPr>
            <a:normAutofit/>
          </a:bodyPr>
          <a:lstStyle/>
          <a:p>
            <a:r>
              <a:rPr lang="en-US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Key Strengths (3)</a:t>
            </a:r>
            <a:endParaRPr lang="en-IN" dirty="0">
              <a:solidFill>
                <a:srgbClr val="FFFFFF"/>
              </a:solidFill>
            </a:endParaRPr>
          </a:p>
        </p:txBody>
      </p:sp>
      <p:pic>
        <p:nvPicPr>
          <p:cNvPr id="14" name="Google Shape;198;p76">
            <a:extLst>
              <a:ext uri="{FF2B5EF4-FFF2-40B4-BE49-F238E27FC236}">
                <a16:creationId xmlns:a16="http://schemas.microsoft.com/office/drawing/2014/main" id="{F27EE207-7291-4DB3-9A53-99548E88DA8B}"/>
              </a:ext>
            </a:extLst>
          </p:cNvPr>
          <p:cNvPicPr preferRelativeResize="0"/>
          <p:nvPr/>
        </p:nvPicPr>
        <p:blipFill rotWithShape="1">
          <a:blip r:embed="rId2"/>
          <a:srcRect l="3846" r="2425" b="-4"/>
          <a:stretch/>
        </p:blipFill>
        <p:spPr>
          <a:xfrm>
            <a:off x="-4265" y="2128962"/>
            <a:ext cx="3369009" cy="2399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Google Shape;199;p76" descr="Seaplane Ride in the Maldives | Seaplane Experience Explained">
            <a:extLst>
              <a:ext uri="{FF2B5EF4-FFF2-40B4-BE49-F238E27FC236}">
                <a16:creationId xmlns:a16="http://schemas.microsoft.com/office/drawing/2014/main" id="{03DCD1B6-E076-4C73-B7BE-BAF25C50F6BE}"/>
              </a:ext>
            </a:extLst>
          </p:cNvPr>
          <p:cNvPicPr preferRelativeResize="0"/>
          <p:nvPr/>
        </p:nvPicPr>
        <p:blipFill rotWithShape="1">
          <a:blip r:embed="rId3"/>
          <a:srcRect t="5350" r="2" b="6769"/>
          <a:stretch/>
        </p:blipFill>
        <p:spPr>
          <a:xfrm>
            <a:off x="1" y="4507173"/>
            <a:ext cx="3364743" cy="23508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8227" y="2293801"/>
            <a:ext cx="7251033" cy="4385569"/>
          </a:xfrm>
        </p:spPr>
        <p:txBody>
          <a:bodyPr>
            <a:normAutofit/>
          </a:bodyPr>
          <a:lstStyle/>
          <a:p>
            <a:pPr marL="285750" marR="0" lvl="0" indent="-28575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r>
              <a:rPr lang="en-US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All modes of service delivery were observed including fixed &amp; outreach session sites, mobile teams and campaign with mass vaccination centers</a:t>
            </a:r>
            <a:endParaRPr lang="en-US" sz="18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>
              <a:lnSpc>
                <a:spcPct val="110000"/>
              </a:lnSpc>
              <a:buClr>
                <a:schemeClr val="dk1"/>
              </a:buClr>
              <a:buSzPts val="2400"/>
            </a:pPr>
            <a:endParaRPr lang="en-US" sz="1800" dirty="0">
              <a:latin typeface="Calibri"/>
              <a:ea typeface="Calibri"/>
              <a:cs typeface="Calibri"/>
            </a:endParaRPr>
          </a:p>
          <a:p>
            <a:pPr marL="285750" indent="-285750">
              <a:lnSpc>
                <a:spcPct val="110000"/>
              </a:lnSpc>
              <a:buClr>
                <a:schemeClr val="dk1"/>
              </a:buClr>
              <a:buSzPts val="2400"/>
              <a:buFont typeface="Arial"/>
              <a:buChar char="•"/>
            </a:pPr>
            <a:r>
              <a:rPr lang="en-IN" sz="18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Innovative modes were employed; collaborative efforts with Ministry of Tourism for resort islands, mobile teams for bed-ridden people</a:t>
            </a:r>
          </a:p>
          <a:p>
            <a:pPr marL="285750" indent="-285750">
              <a:lnSpc>
                <a:spcPct val="110000"/>
              </a:lnSpc>
              <a:buClr>
                <a:schemeClr val="dk1"/>
              </a:buClr>
              <a:buSzPts val="2400"/>
              <a:buFont typeface="Arial"/>
              <a:buChar char="•"/>
            </a:pPr>
            <a:endParaRPr lang="en-IN" sz="18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indent="-285750">
              <a:lnSpc>
                <a:spcPct val="110000"/>
              </a:lnSpc>
              <a:buClr>
                <a:schemeClr val="dk1"/>
              </a:buClr>
              <a:buSzPts val="2400"/>
              <a:buFont typeface="Arial"/>
              <a:buChar char="•"/>
            </a:pPr>
            <a:r>
              <a:rPr lang="en-US" sz="1800" dirty="0">
                <a:latin typeface="Calibri"/>
                <a:ea typeface="Calibri"/>
                <a:cs typeface="Calibri"/>
              </a:rPr>
              <a:t>Vaccine distribution to islands was done through multiple modes of transport available in country (airplanes, seaplanes, ferry, speed boats)</a:t>
            </a:r>
          </a:p>
          <a:p>
            <a:pPr marL="285750" marR="0" lvl="0" indent="-28575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endParaRPr lang="en-IN" sz="18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indent="-285750">
              <a:lnSpc>
                <a:spcPct val="110000"/>
              </a:lnSpc>
              <a:buClr>
                <a:schemeClr val="dk1"/>
              </a:buClr>
              <a:buSzPts val="2400"/>
              <a:buFont typeface="Arial"/>
              <a:buChar char="•"/>
            </a:pPr>
            <a:r>
              <a:rPr lang="en-IN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Additional clinical staffs and volunteers were assigned for mass vaccination centres</a:t>
            </a:r>
            <a:endParaRPr lang="en-IN" sz="1800" dirty="0"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ED13649-024C-4DF3-8430-AF1E68511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4088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0021CDA5-A680-4335-B921-39A7F681C5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8353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3" name="Footer Placeholder 13">
            <a:extLst>
              <a:ext uri="{FF2B5EF4-FFF2-40B4-BE49-F238E27FC236}">
                <a16:creationId xmlns:a16="http://schemas.microsoft.com/office/drawing/2014/main" id="{3C6DC1E6-F4A4-4F02-99CA-B2B4892AAC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744" y="6510200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41945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4B81A0BA-16CC-4B81-8085-B2D25C9637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E5507D-EF5C-4996-B981-54DCF94453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203942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503742"/>
            <a:ext cx="9914859" cy="1281254"/>
          </a:xfrm>
        </p:spPr>
        <p:txBody>
          <a:bodyPr>
            <a:normAutofit/>
          </a:bodyPr>
          <a:lstStyle/>
          <a:p>
            <a:r>
              <a:rPr lang="en-US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Key Strengths (4)</a:t>
            </a:r>
            <a:endParaRPr lang="en-IN" dirty="0">
              <a:solidFill>
                <a:srgbClr val="FFFFFF"/>
              </a:solidFill>
            </a:endParaRPr>
          </a:p>
        </p:txBody>
      </p:sp>
      <p:pic>
        <p:nvPicPr>
          <p:cNvPr id="15" name="Picture 14" descr="A person holding a card&#10;&#10;Description automatically generated with low confidence">
            <a:extLst>
              <a:ext uri="{FF2B5EF4-FFF2-40B4-BE49-F238E27FC236}">
                <a16:creationId xmlns:a16="http://schemas.microsoft.com/office/drawing/2014/main" id="{E2E65A26-4043-4504-B835-486FA70BFC6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7099" b="25362"/>
          <a:stretch/>
        </p:blipFill>
        <p:spPr>
          <a:xfrm>
            <a:off x="-4265" y="2128962"/>
            <a:ext cx="3369009" cy="2399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Google Shape;191;p75">
            <a:extLst>
              <a:ext uri="{FF2B5EF4-FFF2-40B4-BE49-F238E27FC236}">
                <a16:creationId xmlns:a16="http://schemas.microsoft.com/office/drawing/2014/main" id="{A9B8EAFC-54BD-464F-B800-E5C4090D4F3C}"/>
              </a:ext>
            </a:extLst>
          </p:cNvPr>
          <p:cNvPicPr preferRelativeResize="0"/>
          <p:nvPr/>
        </p:nvPicPr>
        <p:blipFill rotWithShape="1">
          <a:blip r:embed="rId3"/>
          <a:srcRect l="89" r="4376" b="5"/>
          <a:stretch/>
        </p:blipFill>
        <p:spPr>
          <a:xfrm>
            <a:off x="1" y="4507173"/>
            <a:ext cx="3364743" cy="23508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35114" y="2332224"/>
            <a:ext cx="7550304" cy="4036993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10000"/>
              </a:lnSpc>
              <a:spcBef>
                <a:spcPts val="600"/>
              </a:spcBef>
              <a:buClr>
                <a:schemeClr val="dk1"/>
              </a:buClr>
              <a:buSzPts val="2000"/>
              <a:buFont typeface="Arial"/>
              <a:buChar char="•"/>
            </a:pPr>
            <a:r>
              <a:rPr lang="en-IN" sz="1800" dirty="0">
                <a:latin typeface="Calibri"/>
                <a:cs typeface="Calibri"/>
              </a:rPr>
              <a:t>24/7 hotline for healthworkers and doctors to report and guide in management of AEFIs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Clr>
                <a:schemeClr val="dk1"/>
              </a:buClr>
              <a:buSzPts val="2000"/>
              <a:buFont typeface="Arial"/>
              <a:buChar char="•"/>
            </a:pPr>
            <a:endParaRPr lang="en-IN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lnSpc>
                <a:spcPct val="110000"/>
              </a:lnSpc>
              <a:spcBef>
                <a:spcPts val="600"/>
              </a:spcBef>
              <a:buClr>
                <a:schemeClr val="dk1"/>
              </a:buClr>
              <a:buSzPts val="2000"/>
              <a:buFont typeface="Arial"/>
              <a:buChar char="•"/>
            </a:pPr>
            <a:r>
              <a:rPr lang="en-IN" sz="1800" dirty="0">
                <a:latin typeface="Calibri" panose="020F0502020204030204" pitchFamily="34" charset="0"/>
                <a:cs typeface="Calibri" panose="020F0502020204030204" pitchFamily="34" charset="0"/>
              </a:rPr>
              <a:t>All AEFI procedures are followed as per the National AEFI guidelines</a:t>
            </a:r>
          </a:p>
          <a:p>
            <a:pPr>
              <a:lnSpc>
                <a:spcPct val="110000"/>
              </a:lnSpc>
              <a:spcBef>
                <a:spcPts val="600"/>
              </a:spcBef>
              <a:buClr>
                <a:schemeClr val="dk1"/>
              </a:buClr>
              <a:buSzPts val="2000"/>
            </a:pPr>
            <a:endParaRPr lang="en-IN" sz="1800" dirty="0">
              <a:latin typeface="Calibri"/>
              <a:cs typeface="Calibri"/>
            </a:endParaRP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Clr>
                <a:schemeClr val="dk1"/>
              </a:buClr>
              <a:buSzPts val="2000"/>
              <a:buFont typeface="Arial"/>
              <a:buChar char="•"/>
            </a:pPr>
            <a:r>
              <a:rPr lang="en-IN" sz="1800" dirty="0">
                <a:latin typeface="Calibri"/>
                <a:cs typeface="Calibri"/>
              </a:rPr>
              <a:t>Safety boxes used in all facilities and IPC measures observed</a:t>
            </a:r>
          </a:p>
          <a:p>
            <a:pPr>
              <a:lnSpc>
                <a:spcPct val="110000"/>
              </a:lnSpc>
              <a:spcBef>
                <a:spcPts val="600"/>
              </a:spcBef>
              <a:buClr>
                <a:schemeClr val="dk1"/>
              </a:buClr>
              <a:buSzPts val="2000"/>
            </a:pPr>
            <a:endParaRPr lang="en-IN" sz="1800" dirty="0">
              <a:latin typeface="Calibri"/>
              <a:cs typeface="Calibri"/>
            </a:endParaRPr>
          </a:p>
          <a:p>
            <a:pPr marL="285750" lvl="0" indent="-285750">
              <a:lnSpc>
                <a:spcPct val="110000"/>
              </a:lnSpc>
              <a:spcBef>
                <a:spcPts val="600"/>
              </a:spcBef>
              <a:buClr>
                <a:schemeClr val="dk1"/>
              </a:buClr>
              <a:buSzPts val="2000"/>
              <a:buFont typeface="Arial"/>
              <a:buChar char="•"/>
            </a:pPr>
            <a:r>
              <a:rPr lang="en-IN" sz="1800" dirty="0">
                <a:latin typeface="Calibri" panose="020F0502020204030204" pitchFamily="34" charset="0"/>
                <a:cs typeface="Calibri" panose="020F0502020204030204" pitchFamily="34" charset="0"/>
              </a:rPr>
              <a:t>Management of crisis communication at national level</a:t>
            </a:r>
          </a:p>
          <a:p>
            <a:pPr marL="285750" lvl="0" indent="-285750">
              <a:lnSpc>
                <a:spcPct val="110000"/>
              </a:lnSpc>
              <a:spcBef>
                <a:spcPts val="600"/>
              </a:spcBef>
              <a:buClr>
                <a:schemeClr val="dk1"/>
              </a:buClr>
              <a:buSzPts val="2000"/>
              <a:buFont typeface="Arial"/>
              <a:buChar char="•"/>
            </a:pPr>
            <a:endParaRPr lang="en-IN" sz="18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marR="0" lvl="0" indent="-285750" rtl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Responsive national/atoll focal points to take questions and guide field personnel</a:t>
            </a:r>
            <a:endParaRPr lang="en-IN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ED13649-024C-4DF3-8430-AF1E68511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4088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0021CDA5-A680-4335-B921-39A7F681C5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8353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3" name="Footer Placeholder 13">
            <a:extLst>
              <a:ext uri="{FF2B5EF4-FFF2-40B4-BE49-F238E27FC236}">
                <a16:creationId xmlns:a16="http://schemas.microsoft.com/office/drawing/2014/main" id="{C107D978-E940-400A-BCBB-6554700C40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744" y="6510200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7643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33">
            <a:extLst>
              <a:ext uri="{FF2B5EF4-FFF2-40B4-BE49-F238E27FC236}">
                <a16:creationId xmlns:a16="http://schemas.microsoft.com/office/drawing/2014/main" id="{4B81A0BA-16CC-4B81-8085-B2D25C9637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E5507D-EF5C-4996-B981-54DCF94453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203942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503742"/>
            <a:ext cx="9914859" cy="1281254"/>
          </a:xfrm>
        </p:spPr>
        <p:txBody>
          <a:bodyPr>
            <a:normAutofit/>
          </a:bodyPr>
          <a:lstStyle/>
          <a:p>
            <a:r>
              <a:rPr lang="en-US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Key Strengths (5)</a:t>
            </a:r>
            <a:endParaRPr lang="en-IN" dirty="0">
              <a:solidFill>
                <a:srgbClr val="FFFFFF"/>
              </a:solidFill>
            </a:endParaRPr>
          </a:p>
        </p:txBody>
      </p:sp>
      <p:pic>
        <p:nvPicPr>
          <p:cNvPr id="14" name="Google Shape;212;p78">
            <a:extLst>
              <a:ext uri="{FF2B5EF4-FFF2-40B4-BE49-F238E27FC236}">
                <a16:creationId xmlns:a16="http://schemas.microsoft.com/office/drawing/2014/main" id="{D82963C1-DBC4-47F0-88FD-BE8B6513D264}"/>
              </a:ext>
            </a:extLst>
          </p:cNvPr>
          <p:cNvPicPr preferRelativeResize="0"/>
          <p:nvPr/>
        </p:nvPicPr>
        <p:blipFill rotWithShape="1">
          <a:blip r:embed="rId2"/>
          <a:srcRect l="6275" r="-4" b="-4"/>
          <a:stretch/>
        </p:blipFill>
        <p:spPr>
          <a:xfrm>
            <a:off x="-4265" y="2128962"/>
            <a:ext cx="3369009" cy="23993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598F01C-BE14-46AB-B00F-179AABF2DF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" b="5905"/>
          <a:stretch/>
        </p:blipFill>
        <p:spPr>
          <a:xfrm>
            <a:off x="1" y="4507173"/>
            <a:ext cx="3364743" cy="235082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35977" y="2314947"/>
            <a:ext cx="7375324" cy="4107956"/>
          </a:xfrm>
        </p:spPr>
        <p:txBody>
          <a:bodyPr>
            <a:normAutofit/>
          </a:bodyPr>
          <a:lstStyle/>
          <a:p>
            <a:pPr marL="285750" marR="0" lvl="0" indent="-28575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400"/>
              <a:buFont typeface="Arial"/>
              <a:buChar char="•"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Web-based real-time portal for COVID-19 vaccination- DHIFAAU portal</a:t>
            </a:r>
          </a:p>
          <a:p>
            <a:pPr marL="0" marR="0" lvl="0" indent="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400"/>
              <a:buNone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 </a:t>
            </a:r>
          </a:p>
          <a:p>
            <a:pPr marL="285750" marR="0" lvl="0" indent="-28575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400"/>
              <a:buFont typeface="Arial"/>
              <a:buChar char="•"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Both manual vaccination card and digital vaccination certificate with QR Code</a:t>
            </a:r>
          </a:p>
          <a:p>
            <a:pPr marL="0" marR="0" lvl="0" indent="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400"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285750" marR="0" lvl="0" indent="-28575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400"/>
              <a:buFont typeface="Arial"/>
              <a:buChar char="•"/>
              <a:tabLst/>
              <a:defRPr/>
            </a:pP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Routine immunization services maintained during pandemic</a:t>
            </a:r>
          </a:p>
          <a:p>
            <a:pPr marL="0" marR="0" lvl="0" indent="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400"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prstClr val="black"/>
              </a:buClr>
              <a:buSzPts val="2400"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Overall: </a:t>
            </a:r>
            <a:r>
              <a:rPr kumimoji="0" lang="en-IN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e COVID-19 vaccination response led to cold-chain upgrades, reinforcement of AEFI monitoring, and strong community appreciation &amp; awareness of the benefits of vaccination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Calibri"/>
              <a:cs typeface="Calibri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4ED13649-024C-4DF3-8430-AF1E68511D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4088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0021CDA5-A680-4335-B921-39A7F681C5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V="1">
            <a:off x="9848353" y="-775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FB258C-71CE-4822-A749-43A1341032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6" y="6437376"/>
            <a:ext cx="3775914" cy="365125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900" b="0" i="0" u="none" strike="noStrike" kern="1200" cap="none" spc="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900" b="0" i="0" u="none" strike="noStrike" kern="1200" cap="none" spc="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3" name="Footer Placeholder 13">
            <a:extLst>
              <a:ext uri="{FF2B5EF4-FFF2-40B4-BE49-F238E27FC236}">
                <a16:creationId xmlns:a16="http://schemas.microsoft.com/office/drawing/2014/main" id="{2AAD75D4-620E-439C-9A59-E878E01AEDC7}"/>
              </a:ext>
            </a:extLst>
          </p:cNvPr>
          <p:cNvSpPr txBox="1">
            <a:spLocks/>
          </p:cNvSpPr>
          <p:nvPr/>
        </p:nvSpPr>
        <p:spPr>
          <a:xfrm>
            <a:off x="3364744" y="6510200"/>
            <a:ext cx="5292345" cy="3622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 spc="5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0457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2" name="Rectangle 105">
            <a:extLst>
              <a:ext uri="{FF2B5EF4-FFF2-40B4-BE49-F238E27FC236}">
                <a16:creationId xmlns:a16="http://schemas.microsoft.com/office/drawing/2014/main" id="{09B3DFAF-F43A-4883-8B47-2649E63ADE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23" name="Rectangle 107">
            <a:extLst>
              <a:ext uri="{FF2B5EF4-FFF2-40B4-BE49-F238E27FC236}">
                <a16:creationId xmlns:a16="http://schemas.microsoft.com/office/drawing/2014/main" id="{87C893E1-56BE-45D8-8563-416B9E05A9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203942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15" name="Google Shape;192;p75">
            <a:extLst>
              <a:ext uri="{FF2B5EF4-FFF2-40B4-BE49-F238E27FC236}">
                <a16:creationId xmlns:a16="http://schemas.microsoft.com/office/drawing/2014/main" id="{90CA30D7-893C-4512-84B1-5419D1A2809A}"/>
              </a:ext>
            </a:extLst>
          </p:cNvPr>
          <p:cNvPicPr preferRelativeResize="0"/>
          <p:nvPr/>
        </p:nvPicPr>
        <p:blipFill rotWithShape="1">
          <a:blip r:embed="rId2"/>
          <a:srcRect r="4610" b="-5"/>
          <a:stretch/>
        </p:blipFill>
        <p:spPr>
          <a:xfrm>
            <a:off x="20" y="2128217"/>
            <a:ext cx="3352780" cy="23462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4" name="Freeform: Shape 109">
            <a:extLst>
              <a:ext uri="{FF2B5EF4-FFF2-40B4-BE49-F238E27FC236}">
                <a16:creationId xmlns:a16="http://schemas.microsoft.com/office/drawing/2014/main" id="{45162265-2D0B-4097-9884-12891CFB63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6118" y="0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25" name="Freeform: Shape 111">
            <a:extLst>
              <a:ext uri="{FF2B5EF4-FFF2-40B4-BE49-F238E27FC236}">
                <a16:creationId xmlns:a16="http://schemas.microsoft.com/office/drawing/2014/main" id="{93D92F75-A713-4431-8145-7254365FC7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824" y="0"/>
            <a:ext cx="2343647" cy="4385568"/>
          </a:xfrm>
          <a:custGeom>
            <a:avLst/>
            <a:gdLst>
              <a:gd name="connsiteX0" fmla="*/ 0 w 2343647"/>
              <a:gd name="connsiteY0" fmla="*/ 0 h 4385568"/>
              <a:gd name="connsiteX1" fmla="*/ 13818 w 2343647"/>
              <a:gd name="connsiteY1" fmla="*/ 0 h 4385568"/>
              <a:gd name="connsiteX2" fmla="*/ 34560 w 2343647"/>
              <a:gd name="connsiteY2" fmla="*/ 141658 h 4385568"/>
              <a:gd name="connsiteX3" fmla="*/ 2208831 w 2343647"/>
              <a:gd name="connsiteY3" fmla="*/ 2118828 h 4385568"/>
              <a:gd name="connsiteX4" fmla="*/ 2343647 w 2343647"/>
              <a:gd name="connsiteY4" fmla="*/ 2125211 h 4385568"/>
              <a:gd name="connsiteX5" fmla="*/ 2208831 w 2343647"/>
              <a:gd name="connsiteY5" fmla="*/ 2131594 h 4385568"/>
              <a:gd name="connsiteX6" fmla="*/ 3143 w 2343647"/>
              <a:gd name="connsiteY6" fmla="*/ 4323325 h 4385568"/>
              <a:gd name="connsiteX7" fmla="*/ 0 w 2343647"/>
              <a:gd name="connsiteY7" fmla="*/ 4385568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0" y="0"/>
                </a:moveTo>
                <a:lnTo>
                  <a:pt x="13818" y="0"/>
                </a:lnTo>
                <a:lnTo>
                  <a:pt x="34560" y="141658"/>
                </a:lnTo>
                <a:cubicBezTo>
                  <a:pt x="237593" y="1199063"/>
                  <a:pt x="1119361" y="2015131"/>
                  <a:pt x="2208831" y="2118828"/>
                </a:cubicBezTo>
                <a:lnTo>
                  <a:pt x="2343647" y="2125211"/>
                </a:lnTo>
                <a:lnTo>
                  <a:pt x="2208831" y="2131594"/>
                </a:lnTo>
                <a:cubicBezTo>
                  <a:pt x="1046730" y="2242204"/>
                  <a:pt x="120947" y="3163335"/>
                  <a:pt x="3143" y="4323325"/>
                </a:cubicBezTo>
                <a:lnTo>
                  <a:pt x="0" y="4385568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359469"/>
            <a:ext cx="9914859" cy="1474094"/>
          </a:xfrm>
        </p:spPr>
        <p:txBody>
          <a:bodyPr>
            <a:normAutofit/>
          </a:bodyPr>
          <a:lstStyle/>
          <a:p>
            <a:r>
              <a:rPr lang="en-US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Key </a:t>
            </a:r>
            <a:r>
              <a:rPr lang="en-US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hallenges</a:t>
            </a:r>
            <a:endParaRPr lang="en-IN" dirty="0">
              <a:solidFill>
                <a:srgbClr val="FFFFFF"/>
              </a:solidFill>
            </a:endParaRPr>
          </a:p>
        </p:txBody>
      </p:sp>
      <p:pic>
        <p:nvPicPr>
          <p:cNvPr id="14" name="Google Shape;225;p80">
            <a:extLst>
              <a:ext uri="{FF2B5EF4-FFF2-40B4-BE49-F238E27FC236}">
                <a16:creationId xmlns:a16="http://schemas.microsoft.com/office/drawing/2014/main" id="{25E21A26-F9D0-4E25-98D1-8A094BA76AED}"/>
              </a:ext>
            </a:extLst>
          </p:cNvPr>
          <p:cNvPicPr preferRelativeResize="0"/>
          <p:nvPr/>
        </p:nvPicPr>
        <p:blipFill rotWithShape="1">
          <a:blip r:embed="rId3"/>
          <a:srcRect l="7231" r="-3" b="-3"/>
          <a:stretch/>
        </p:blipFill>
        <p:spPr>
          <a:xfrm>
            <a:off x="20" y="4451175"/>
            <a:ext cx="3352780" cy="241241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7868" y="2290423"/>
            <a:ext cx="7992932" cy="4208108"/>
          </a:xfrm>
        </p:spPr>
        <p:txBody>
          <a:bodyPr>
            <a:normAutofit lnSpcReduction="10000"/>
          </a:bodyPr>
          <a:lstStyle/>
          <a:p>
            <a:pPr marL="543560" marR="0" lvl="1" indent="-34290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Over-stretched human resources</a:t>
            </a:r>
            <a:endParaRPr lang="en-IN" dirty="0"/>
          </a:p>
          <a:p>
            <a:pPr marL="543560" marR="0" lvl="1" indent="-342900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endParaRPr lang="en-IN" dirty="0">
              <a:latin typeface="Calibri"/>
              <a:ea typeface="Calibri"/>
              <a:cs typeface="Calibri"/>
            </a:endParaRPr>
          </a:p>
          <a:p>
            <a:pPr marL="543560" marR="0" lvl="1" indent="-342900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Lack of supervision</a:t>
            </a:r>
            <a:endParaRPr lang="en-IN" b="0" i="0" u="none" strike="noStrike" cap="none" dirty="0">
              <a:latin typeface="Calibri"/>
              <a:ea typeface="Calibri"/>
              <a:cs typeface="Calibri"/>
            </a:endParaRPr>
          </a:p>
          <a:p>
            <a:pPr marL="543560" marR="0" lvl="1" indent="-342900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endParaRPr lang="en-IN" b="0" i="0" u="none" strike="noStrike" cap="none" dirty="0">
              <a:latin typeface="Calibri"/>
              <a:ea typeface="Calibri"/>
              <a:cs typeface="Calibri"/>
            </a:endParaRPr>
          </a:p>
          <a:p>
            <a:pPr marL="543560" marR="0" lvl="1" indent="-342900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Lack of atoll/island operational funds for local needs</a:t>
            </a:r>
            <a:endParaRPr lang="en-IN" b="0" i="0" u="none" strike="noStrike" cap="none" dirty="0">
              <a:latin typeface="Calibri"/>
              <a:ea typeface="Calibri"/>
              <a:cs typeface="Calibri"/>
            </a:endParaRPr>
          </a:p>
          <a:p>
            <a:pPr marL="543560" marR="0" lvl="1" indent="-342900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endParaRPr lang="en-IN" b="0" i="0" u="none" strike="noStrike" cap="none" dirty="0">
              <a:latin typeface="Calibri"/>
              <a:ea typeface="Calibri"/>
              <a:cs typeface="Calibri"/>
            </a:endParaRPr>
          </a:p>
          <a:p>
            <a:pPr marL="543560" marR="0" lvl="1" indent="-342900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Gaps in oversight and quality control checks of vaccines supply arriving in country</a:t>
            </a:r>
            <a:endParaRPr lang="en-IN" b="0" i="0" u="none" strike="noStrike" cap="none" dirty="0">
              <a:latin typeface="Calibri"/>
              <a:ea typeface="Calibri"/>
              <a:cs typeface="Calibri"/>
            </a:endParaRPr>
          </a:p>
          <a:p>
            <a:pPr marL="543560" marR="0" lvl="1" indent="-342900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endParaRPr lang="en-IN" dirty="0"/>
          </a:p>
          <a:p>
            <a:pPr marL="543560" marR="0" lvl="1" indent="-34290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Duplication and inefficiencies in data reporting systems, minimal data analysis </a:t>
            </a:r>
            <a:endParaRPr lang="en-IN" b="0" i="0" u="none" strike="noStrike" cap="none" dirty="0">
              <a:latin typeface="Calibri"/>
              <a:ea typeface="Calibri"/>
              <a:cs typeface="Calibri"/>
            </a:endParaRPr>
          </a:p>
          <a:p>
            <a:pPr marL="543560" marR="0" lvl="1" indent="-342900" rtl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endParaRPr lang="en-IN" b="0" i="0" u="none" strike="noStrike" cap="none" dirty="0">
              <a:latin typeface="Calibri"/>
              <a:ea typeface="Calibri"/>
              <a:cs typeface="Calibri"/>
            </a:endParaRPr>
          </a:p>
          <a:p>
            <a:pPr marL="543560" marR="0" lvl="1" indent="-342900" rtl="0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Gaps in cold chain, temperature monitoring, and immunization waste management</a:t>
            </a:r>
            <a:endParaRPr lang="en-IN" b="0" i="0" u="none" strike="noStrike" cap="none" dirty="0">
              <a:latin typeface="Calibri"/>
              <a:ea typeface="Calibri"/>
              <a:cs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3" name="Footer Placeholder 13">
            <a:extLst>
              <a:ext uri="{FF2B5EF4-FFF2-40B4-BE49-F238E27FC236}">
                <a16:creationId xmlns:a16="http://schemas.microsoft.com/office/drawing/2014/main" id="{0C5530D2-05F7-464C-827F-A5660E406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64744" y="6510200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03730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1" name="Rectangle 60">
            <a:extLst>
              <a:ext uri="{FF2B5EF4-FFF2-40B4-BE49-F238E27FC236}">
                <a16:creationId xmlns:a16="http://schemas.microsoft.com/office/drawing/2014/main" id="{9FD847D6-AA74-4488-BA94-D0E85EEB2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38C52CD-3D22-40BB-9149-561D14515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2" y="681037"/>
            <a:ext cx="6660106" cy="1231434"/>
          </a:xfrm>
        </p:spPr>
        <p:txBody>
          <a:bodyPr>
            <a:normAutofit/>
          </a:bodyPr>
          <a:lstStyle/>
          <a:p>
            <a:r>
              <a:rPr lang="en-US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Key Recommendations (1)</a:t>
            </a:r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2" y="1973725"/>
            <a:ext cx="6738262" cy="3967162"/>
          </a:xfrm>
        </p:spPr>
        <p:txBody>
          <a:bodyPr>
            <a:normAutofit/>
          </a:bodyPr>
          <a:lstStyle/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Identify ways to decrease the staff workload (task-shifting, community engagement, additional staff, etc.)</a:t>
            </a: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R</a:t>
            </a: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ecognize staff for remarkable commitment</a:t>
            </a:r>
          </a:p>
          <a:p>
            <a:pPr marL="434340" marR="0" lvl="0" indent="-342900" rtl="0"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indent="-342900"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stablish clear SOPs for vaccine quality control &amp; off-label use of vaccines (extended expiry of Pfizer)</a:t>
            </a:r>
          </a:p>
          <a:p>
            <a:pPr marL="342900" marR="0" lvl="0" indent="-342900" rtl="0"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spcBef>
                <a:spcPts val="2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Revive and ensure funding for supportive supervision</a:t>
            </a:r>
            <a:r>
              <a:rPr lang="en-IN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 and operational funds for atolls/islands</a:t>
            </a:r>
          </a:p>
        </p:txBody>
      </p:sp>
      <p:pic>
        <p:nvPicPr>
          <p:cNvPr id="14" name="Google Shape;232;p81">
            <a:extLst>
              <a:ext uri="{FF2B5EF4-FFF2-40B4-BE49-F238E27FC236}">
                <a16:creationId xmlns:a16="http://schemas.microsoft.com/office/drawing/2014/main" id="{5248EA4D-6C85-421C-9E79-B983915B5A57}"/>
              </a:ext>
            </a:extLst>
          </p:cNvPr>
          <p:cNvPicPr preferRelativeResize="0"/>
          <p:nvPr/>
        </p:nvPicPr>
        <p:blipFill rotWithShape="1">
          <a:blip r:embed="rId2"/>
          <a:srcRect r="15721" b="3"/>
          <a:stretch/>
        </p:blipFill>
        <p:spPr>
          <a:xfrm>
            <a:off x="8309113" y="-8969"/>
            <a:ext cx="3882888" cy="34437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Google Shape;233;p81">
            <a:extLst>
              <a:ext uri="{FF2B5EF4-FFF2-40B4-BE49-F238E27FC236}">
                <a16:creationId xmlns:a16="http://schemas.microsoft.com/office/drawing/2014/main" id="{8A3FA4E4-CCB7-4E1C-A4A3-CB834F1C3243}"/>
              </a:ext>
            </a:extLst>
          </p:cNvPr>
          <p:cNvPicPr preferRelativeResize="0"/>
          <p:nvPr/>
        </p:nvPicPr>
        <p:blipFill rotWithShape="1">
          <a:blip r:embed="rId3"/>
          <a:srcRect l="19472" r="5203" b="1"/>
          <a:stretch/>
        </p:blipFill>
        <p:spPr>
          <a:xfrm>
            <a:off x="8309112" y="3434824"/>
            <a:ext cx="3882888" cy="3427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5" name="Freeform: Shape 64">
            <a:extLst>
              <a:ext uri="{FF2B5EF4-FFF2-40B4-BE49-F238E27FC236}">
                <a16:creationId xmlns:a16="http://schemas.microsoft.com/office/drawing/2014/main" id="{F4796F7A-20C0-4174-A2F2-AA743C5C0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114193" y="3236380"/>
            <a:ext cx="2377104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74B32B17-A1E3-4486-9011-36D9046559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114193" y="3236380"/>
            <a:ext cx="2377104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2" name="Footer Placeholder 13">
            <a:extLst>
              <a:ext uri="{FF2B5EF4-FFF2-40B4-BE49-F238E27FC236}">
                <a16:creationId xmlns:a16="http://schemas.microsoft.com/office/drawing/2014/main" id="{43C16070-5D42-4B42-8E14-6BB8023D1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86332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9" name="Rectangle 71">
            <a:extLst>
              <a:ext uri="{FF2B5EF4-FFF2-40B4-BE49-F238E27FC236}">
                <a16:creationId xmlns:a16="http://schemas.microsoft.com/office/drawing/2014/main" id="{9FD847D6-AA74-4488-BA94-D0E85EEB2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70" name="Rectangle 73">
            <a:extLst>
              <a:ext uri="{FF2B5EF4-FFF2-40B4-BE49-F238E27FC236}">
                <a16:creationId xmlns:a16="http://schemas.microsoft.com/office/drawing/2014/main" id="{638C52CD-3D22-40BB-9149-561D14515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2" y="681037"/>
            <a:ext cx="6660106" cy="1231434"/>
          </a:xfrm>
        </p:spPr>
        <p:txBody>
          <a:bodyPr>
            <a:normAutofit/>
          </a:bodyPr>
          <a:lstStyle/>
          <a:p>
            <a:r>
              <a:rPr lang="en-US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Key Recommendations (2)</a:t>
            </a:r>
            <a:endParaRPr lang="en-IN" dirty="0">
              <a:solidFill>
                <a:srgbClr val="FFFFFF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2" y="2094695"/>
            <a:ext cx="7170819" cy="3967162"/>
          </a:xfrm>
        </p:spPr>
        <p:txBody>
          <a:bodyPr>
            <a:normAutofit/>
          </a:bodyPr>
          <a:lstStyle/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Address gaps in cold chain, temperature monitoring gaps, and waste management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Develop mechanisms or provide instructions for re-distributing vaccines to prevent wastage due to expiry 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rioritize the design and implementation of a comprehensive electronic immunization registry that facilitates data analysis and guides routine immunization activities</a:t>
            </a:r>
          </a:p>
        </p:txBody>
      </p:sp>
      <p:pic>
        <p:nvPicPr>
          <p:cNvPr id="11" name="Google Shape;240;p82">
            <a:extLst>
              <a:ext uri="{FF2B5EF4-FFF2-40B4-BE49-F238E27FC236}">
                <a16:creationId xmlns:a16="http://schemas.microsoft.com/office/drawing/2014/main" id="{560B8788-518A-4EF6-A7E2-400361352229}"/>
              </a:ext>
            </a:extLst>
          </p:cNvPr>
          <p:cNvPicPr preferRelativeResize="0"/>
          <p:nvPr/>
        </p:nvPicPr>
        <p:blipFill rotWithShape="1">
          <a:blip r:embed="rId2"/>
          <a:srcRect l="6095" r="18644" b="-1"/>
          <a:stretch/>
        </p:blipFill>
        <p:spPr>
          <a:xfrm>
            <a:off x="8309113" y="-8969"/>
            <a:ext cx="3882888" cy="34437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Google Shape;241;p82">
            <a:extLst>
              <a:ext uri="{FF2B5EF4-FFF2-40B4-BE49-F238E27FC236}">
                <a16:creationId xmlns:a16="http://schemas.microsoft.com/office/drawing/2014/main" id="{3C3F8D4B-27A0-48F6-B40A-F7E46CB9E13C}"/>
              </a:ext>
            </a:extLst>
          </p:cNvPr>
          <p:cNvPicPr preferRelativeResize="0"/>
          <p:nvPr/>
        </p:nvPicPr>
        <p:blipFill rotWithShape="1">
          <a:blip r:embed="rId3"/>
          <a:srcRect l="13393" r="11000" b="4"/>
          <a:stretch/>
        </p:blipFill>
        <p:spPr>
          <a:xfrm>
            <a:off x="8309112" y="3434824"/>
            <a:ext cx="3882888" cy="3427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1" name="Freeform: Shape 75">
            <a:extLst>
              <a:ext uri="{FF2B5EF4-FFF2-40B4-BE49-F238E27FC236}">
                <a16:creationId xmlns:a16="http://schemas.microsoft.com/office/drawing/2014/main" id="{F4796F7A-20C0-4174-A2F2-AA743C5C0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114193" y="3236380"/>
            <a:ext cx="2377104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73" name="Freeform: Shape 77">
            <a:extLst>
              <a:ext uri="{FF2B5EF4-FFF2-40B4-BE49-F238E27FC236}">
                <a16:creationId xmlns:a16="http://schemas.microsoft.com/office/drawing/2014/main" id="{74B32B17-A1E3-4486-9011-36D9046559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114193" y="3236380"/>
            <a:ext cx="2377104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3" name="Footer Placeholder 13">
            <a:extLst>
              <a:ext uri="{FF2B5EF4-FFF2-40B4-BE49-F238E27FC236}">
                <a16:creationId xmlns:a16="http://schemas.microsoft.com/office/drawing/2014/main" id="{4F407880-8B39-493B-A63E-CB1A77AD74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80401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2" name="Rectangle 104">
            <a:extLst>
              <a:ext uri="{FF2B5EF4-FFF2-40B4-BE49-F238E27FC236}">
                <a16:creationId xmlns:a16="http://schemas.microsoft.com/office/drawing/2014/main" id="{D38E59FE-7D5E-44AE-9A51-08FBB00B5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893" y="5297"/>
            <a:ext cx="7371909" cy="1206816"/>
          </a:xfrm>
        </p:spPr>
        <p:txBody>
          <a:bodyPr>
            <a:normAutofit/>
          </a:bodyPr>
          <a:lstStyle/>
          <a:p>
            <a:r>
              <a:rPr lang="en-US" b="0" i="0" u="none" strike="noStrike" cap="none" dirty="0">
                <a:latin typeface="Calibri"/>
                <a:ea typeface="Calibri"/>
                <a:cs typeface="Calibri"/>
                <a:sym typeface="Calibri"/>
              </a:rPr>
              <a:t>HPV vaccination: Key Find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599" y="1202160"/>
            <a:ext cx="6886353" cy="5176865"/>
          </a:xfrm>
        </p:spPr>
        <p:txBody>
          <a:bodyPr>
            <a:normAutofit fontScale="92500" lnSpcReduction="10000"/>
          </a:bodyPr>
          <a:lstStyle/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Good acceptance and high reported coverage with both doses of HPV vaccine 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sz="1800" b="0" i="0" u="none" strike="noStrike" cap="none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Strong collaboration and coordination with stakeholders, especially Ministry of Education in both the campaign and subsequent integration into routine immunization schedule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sz="1800" b="0" i="0" u="none" strike="noStrike" cap="none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HPV vaccine-specific challenges identified include:</a:t>
            </a:r>
          </a:p>
          <a:p>
            <a:pPr marL="800100" lvl="1" indent="-3429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</a:pPr>
            <a:r>
              <a:rPr lang="en-IN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Low awareness and misunderstanding of HPV vaccine benefits among girls, parents and professionals (health workers &amp; teachers)</a:t>
            </a:r>
          </a:p>
          <a:p>
            <a:pPr marL="800100" lvl="1" indent="-3429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</a:pPr>
            <a:r>
              <a:rPr lang="en-IN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Vaccine supply issues: expired vaccine and lack of calculating wastage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sz="1800" b="0" i="0" u="none" strike="noStrike" cap="none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sz="1800" b="0" i="0" u="none" strike="noStrike" cap="none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Data issues: inconsistent sources used for estimating the target population, minimal data analysis; not calculating drop-out rates, multiple manual records and irregular reporting to national level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sz="1800" b="0" i="0" u="none" strike="noStrike" cap="none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13" name="Google Shape;297;p21">
            <a:extLst>
              <a:ext uri="{FF2B5EF4-FFF2-40B4-BE49-F238E27FC236}">
                <a16:creationId xmlns:a16="http://schemas.microsoft.com/office/drawing/2014/main" id="{7C4ED64A-E66B-4B1F-AF7B-1C53A98C2CB5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/>
          <a:srcRect l="13687" r="11032" b="3"/>
          <a:stretch/>
        </p:blipFill>
        <p:spPr>
          <a:xfrm>
            <a:off x="7924803" y="-12626"/>
            <a:ext cx="4267197" cy="68579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3" name="Freeform: Shape 106">
            <a:extLst>
              <a:ext uri="{FF2B5EF4-FFF2-40B4-BE49-F238E27FC236}">
                <a16:creationId xmlns:a16="http://schemas.microsoft.com/office/drawing/2014/main" id="{454757A4-999E-4582-917C-9C73BFEA9E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748214" y="3262081"/>
            <a:ext cx="2353172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04" name="Freeform: Shape 108">
            <a:extLst>
              <a:ext uri="{FF2B5EF4-FFF2-40B4-BE49-F238E27FC236}">
                <a16:creationId xmlns:a16="http://schemas.microsoft.com/office/drawing/2014/main" id="{1BAE6AD2-77FD-438C-B9EE-3347535CE4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6748214" y="3262081"/>
            <a:ext cx="2353172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64DB976C-7E60-4D9C-8D35-3FD12C29E7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81906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7" name="Rectangle 76">
            <a:extLst>
              <a:ext uri="{FF2B5EF4-FFF2-40B4-BE49-F238E27FC236}">
                <a16:creationId xmlns:a16="http://schemas.microsoft.com/office/drawing/2014/main" id="{9FD847D6-AA74-4488-BA94-D0E85EEB2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38C52CD-3D22-40BB-9149-561D14515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8969"/>
            <a:ext cx="8393229" cy="1231434"/>
          </a:xfrm>
        </p:spPr>
        <p:txBody>
          <a:bodyPr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IN" i="0" u="none" strike="noStrike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Key Lessons for planning PIE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0141" y="1269992"/>
            <a:ext cx="7515053" cy="4793324"/>
          </a:xfrm>
        </p:spPr>
        <p:txBody>
          <a:bodyPr>
            <a:normAutofit fontScale="92500" lnSpcReduction="10000"/>
          </a:bodyPr>
          <a:lstStyle/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 Strong coordination and planning is the key for successful implementation of PIE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Securing  international assessors and external partners as per the needs of the assessment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Customization of tools and questionaries should be planned well ahead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Field test the tools well in advance and quantify the time required for assessments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Virtual orientation and briefing session to assessors before arriving to the country helped</a:t>
            </a:r>
          </a:p>
        </p:txBody>
      </p:sp>
      <p:pic>
        <p:nvPicPr>
          <p:cNvPr id="62" name="Google Shape;249;p83">
            <a:extLst>
              <a:ext uri="{FF2B5EF4-FFF2-40B4-BE49-F238E27FC236}">
                <a16:creationId xmlns:a16="http://schemas.microsoft.com/office/drawing/2014/main" id="{65ABCB98-AB7E-4EC3-92D3-31DF832F9992}"/>
              </a:ext>
            </a:extLst>
          </p:cNvPr>
          <p:cNvPicPr preferRelativeResize="0"/>
          <p:nvPr/>
        </p:nvPicPr>
        <p:blipFill rotWithShape="1">
          <a:blip r:embed="rId2"/>
          <a:srcRect r="24739" b="-1"/>
          <a:stretch/>
        </p:blipFill>
        <p:spPr>
          <a:xfrm>
            <a:off x="8309113" y="-8969"/>
            <a:ext cx="3882888" cy="34437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3" name="Google Shape;250;p83">
            <a:extLst>
              <a:ext uri="{FF2B5EF4-FFF2-40B4-BE49-F238E27FC236}">
                <a16:creationId xmlns:a16="http://schemas.microsoft.com/office/drawing/2014/main" id="{382B3380-7E13-4BA5-8839-D54F5926B108}"/>
              </a:ext>
            </a:extLst>
          </p:cNvPr>
          <p:cNvPicPr preferRelativeResize="0"/>
          <p:nvPr/>
        </p:nvPicPr>
        <p:blipFill rotWithShape="1">
          <a:blip r:embed="rId3"/>
          <a:srcRect r="24109" b="3"/>
          <a:stretch/>
        </p:blipFill>
        <p:spPr>
          <a:xfrm>
            <a:off x="8309112" y="3434824"/>
            <a:ext cx="3882888" cy="3427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F4796F7A-20C0-4174-A2F2-AA743C5C0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114193" y="3236380"/>
            <a:ext cx="2377104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83" name="Freeform: Shape 82">
            <a:extLst>
              <a:ext uri="{FF2B5EF4-FFF2-40B4-BE49-F238E27FC236}">
                <a16:creationId xmlns:a16="http://schemas.microsoft.com/office/drawing/2014/main" id="{74B32B17-A1E3-4486-9011-36D9046559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114193" y="3236380"/>
            <a:ext cx="2377104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2" name="Footer Placeholder 13">
            <a:extLst>
              <a:ext uri="{FF2B5EF4-FFF2-40B4-BE49-F238E27FC236}">
                <a16:creationId xmlns:a16="http://schemas.microsoft.com/office/drawing/2014/main" id="{99A27A4C-AF1A-4D14-B7D8-EB44555D6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1221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Freeform: Shape 98">
            <a:extLst>
              <a:ext uri="{FF2B5EF4-FFF2-40B4-BE49-F238E27FC236}">
                <a16:creationId xmlns:a16="http://schemas.microsoft.com/office/drawing/2014/main" id="{7A08E557-10DB-421A-876E-1AE58F8E07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4703" y="3732560"/>
            <a:ext cx="3352193" cy="312544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 useBgFill="1">
        <p:nvSpPr>
          <p:cNvPr id="129" name="Rectangle 100">
            <a:extLst>
              <a:ext uri="{FF2B5EF4-FFF2-40B4-BE49-F238E27FC236}">
                <a16:creationId xmlns:a16="http://schemas.microsoft.com/office/drawing/2014/main" id="{9A272216-7419-4C87-AB03-82E0DA3872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30" name="Rectangle 102">
            <a:extLst>
              <a:ext uri="{FF2B5EF4-FFF2-40B4-BE49-F238E27FC236}">
                <a16:creationId xmlns:a16="http://schemas.microsoft.com/office/drawing/2014/main" id="{11865473-2487-49BF-B479-E5B2413C9B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203942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31" name="Freeform: Shape 104">
            <a:extLst>
              <a:ext uri="{FF2B5EF4-FFF2-40B4-BE49-F238E27FC236}">
                <a16:creationId xmlns:a16="http://schemas.microsoft.com/office/drawing/2014/main" id="{A350D0A8-258B-4E43-A736-771FE6E31F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493244" y="9095"/>
            <a:ext cx="4698757" cy="2110772"/>
          </a:xfrm>
          <a:custGeom>
            <a:avLst/>
            <a:gdLst>
              <a:gd name="connsiteX0" fmla="*/ 2240247 w 4698757"/>
              <a:gd name="connsiteY0" fmla="*/ 0 h 2110772"/>
              <a:gd name="connsiteX1" fmla="*/ 4698757 w 4698757"/>
              <a:gd name="connsiteY1" fmla="*/ 0 h 2110772"/>
              <a:gd name="connsiteX2" fmla="*/ 4698757 w 4698757"/>
              <a:gd name="connsiteY2" fmla="*/ 2110772 h 2110772"/>
              <a:gd name="connsiteX3" fmla="*/ 2260357 w 4698757"/>
              <a:gd name="connsiteY3" fmla="*/ 2110772 h 2110772"/>
              <a:gd name="connsiteX4" fmla="*/ 0 w 4698757"/>
              <a:gd name="connsiteY4" fmla="*/ 2110772 h 2110772"/>
              <a:gd name="connsiteX5" fmla="*/ 62244 w 4698757"/>
              <a:gd name="connsiteY5" fmla="*/ 2107629 h 2110772"/>
              <a:gd name="connsiteX6" fmla="*/ 2223877 w 4698757"/>
              <a:gd name="connsiteY6" fmla="*/ 116926 h 2110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98757" h="2110772">
                <a:moveTo>
                  <a:pt x="2240247" y="0"/>
                </a:moveTo>
                <a:lnTo>
                  <a:pt x="4698757" y="0"/>
                </a:lnTo>
                <a:lnTo>
                  <a:pt x="4698757" y="2110772"/>
                </a:lnTo>
                <a:lnTo>
                  <a:pt x="2260357" y="2110772"/>
                </a:lnTo>
                <a:lnTo>
                  <a:pt x="0" y="2110772"/>
                </a:lnTo>
                <a:lnTo>
                  <a:pt x="62244" y="2107629"/>
                </a:lnTo>
                <a:cubicBezTo>
                  <a:pt x="1149736" y="1997188"/>
                  <a:pt x="2027291" y="1176609"/>
                  <a:pt x="2223877" y="116926"/>
                </a:cubicBez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9" name="Title 58">
            <a:extLst>
              <a:ext uri="{FF2B5EF4-FFF2-40B4-BE49-F238E27FC236}">
                <a16:creationId xmlns:a16="http://schemas.microsoft.com/office/drawing/2014/main" id="{FD483A78-48D6-4682-BE37-B2D0C566DB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896" y="515878"/>
            <a:ext cx="8300719" cy="110865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</a:t>
            </a:r>
          </a:p>
        </p:txBody>
      </p:sp>
      <p:pic>
        <p:nvPicPr>
          <p:cNvPr id="17" name="Google Shape;91;p67">
            <a:extLst>
              <a:ext uri="{FF2B5EF4-FFF2-40B4-BE49-F238E27FC236}">
                <a16:creationId xmlns:a16="http://schemas.microsoft.com/office/drawing/2014/main" id="{631393F5-291D-4D9B-868E-9BF307E60834}"/>
              </a:ext>
            </a:extLst>
          </p:cNvPr>
          <p:cNvPicPr preferRelativeResize="0"/>
          <p:nvPr/>
        </p:nvPicPr>
        <p:blipFill rotWithShape="1">
          <a:blip r:embed="rId2"/>
          <a:srcRect r="-2" b="18601"/>
          <a:stretch/>
        </p:blipFill>
        <p:spPr>
          <a:xfrm>
            <a:off x="8991577" y="0"/>
            <a:ext cx="3218336" cy="643452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F2598B45-0899-4C64-A088-FE0583534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E87B0019-071E-4C19-9139-35D5377D2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210C6567-40B2-4D72-B8CA-5DD75FC1EE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809" y="2297962"/>
            <a:ext cx="8466894" cy="4021430"/>
          </a:xfrm>
        </p:spPr>
        <p:txBody>
          <a:bodyPr>
            <a:noAutofit/>
          </a:bodyPr>
          <a:lstStyle/>
          <a:p>
            <a:pPr marL="34290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One of the most geographically dispersed nation</a:t>
            </a:r>
            <a:endParaRPr lang="en-IN" sz="1800" dirty="0">
              <a:solidFill>
                <a:schemeClr val="tx1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1,192 islands (grouped into 20 atolls), 187 Inhabited Islands, 166 resort islands</a:t>
            </a:r>
          </a:p>
          <a:p>
            <a:pPr marL="342900" marR="0" lvl="0" indent="-285750" algn="l" rtl="0">
              <a:lnSpc>
                <a:spcPct val="150000"/>
              </a:lnSpc>
              <a:spcBef>
                <a:spcPts val="68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Total population of 545,847</a:t>
            </a:r>
          </a:p>
          <a:p>
            <a:pPr marL="342900" marR="0" lvl="0" indent="-285750" algn="l" rtl="0">
              <a:lnSpc>
                <a:spcPct val="150000"/>
              </a:lnSpc>
              <a:spcBef>
                <a:spcPts val="68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Functional health </a:t>
            </a:r>
            <a:r>
              <a:rPr lang="en-IN" sz="1800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c</a:t>
            </a: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entre/hospital at each island/atoll with a team of doctor, nurses and public health workers</a:t>
            </a:r>
            <a:endParaRPr lang="en-IN" sz="1800" dirty="0">
              <a:solidFill>
                <a:schemeClr val="tx1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285750" algn="l" rtl="0">
              <a:lnSpc>
                <a:spcPct val="150000"/>
              </a:lnSpc>
              <a:spcBef>
                <a:spcPts val="68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More than 10% of GDP is spent on h</a:t>
            </a: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ealthcare. Highest in the region</a:t>
            </a:r>
          </a:p>
          <a:p>
            <a:pPr marL="342900" marR="0" lvl="0" indent="-285750" algn="l" rtl="0">
              <a:lnSpc>
                <a:spcPct val="150000"/>
              </a:lnSpc>
              <a:spcBef>
                <a:spcPts val="68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Universal health insurance </a:t>
            </a:r>
            <a:r>
              <a:rPr lang="en-IN" sz="1800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s</a:t>
            </a: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cheme financed by </a:t>
            </a:r>
            <a:r>
              <a:rPr lang="en-IN" sz="1800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Government (</a:t>
            </a:r>
            <a:r>
              <a:rPr lang="en-IN" sz="1800" b="0" i="0" u="none" strike="noStrike" cap="none" dirty="0" err="1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Aasandha</a:t>
            </a: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)</a:t>
            </a:r>
          </a:p>
          <a:p>
            <a:pPr marL="342900" marR="0" lvl="0" indent="-285750" algn="l" rtl="0">
              <a:lnSpc>
                <a:spcPct val="150000"/>
              </a:lnSpc>
              <a:spcBef>
                <a:spcPts val="684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en-IN" sz="1800" b="0" i="0" u="none" strike="noStrike" cap="none" dirty="0">
                <a:solidFill>
                  <a:schemeClr val="tx1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Tourist nation (Approximately 1.5 million arrivals in a year)</a:t>
            </a:r>
            <a:endParaRPr lang="en-IN" sz="1800" b="0" i="0" u="none" strike="noStrike" cap="none" dirty="0">
              <a:solidFill>
                <a:schemeClr val="tx1"/>
              </a:solidFill>
              <a:latin typeface="Calibri" panose="020F0502020204030204" pitchFamily="34" charset="0"/>
              <a:ea typeface="Arial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35243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7" name="Rectangle 86">
            <a:extLst>
              <a:ext uri="{FF2B5EF4-FFF2-40B4-BE49-F238E27FC236}">
                <a16:creationId xmlns:a16="http://schemas.microsoft.com/office/drawing/2014/main" id="{9FD847D6-AA74-4488-BA94-D0E85EEB2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38C52CD-3D22-40BB-9149-561D14515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E9051-B57C-4BBB-8A24-18242829F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5499"/>
            <a:ext cx="8309112" cy="1153541"/>
          </a:xfrm>
        </p:spPr>
        <p:txBody>
          <a:bodyPr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IN" b="0" i="0" u="none" strike="noStrike" cap="none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Key Lessons for planning PIE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8D9649-13BC-4E83-B975-5C7C46AFCB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545" y="1209040"/>
            <a:ext cx="7602214" cy="4951128"/>
          </a:xfrm>
        </p:spPr>
        <p:txBody>
          <a:bodyPr>
            <a:normAutofit lnSpcReduction="10000"/>
          </a:bodyPr>
          <a:lstStyle/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Emphasis on COVID appropriate behaviours during assessment 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Using social media platforms and groups to be well connected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hotographers may be assigned to teams for documentation purpose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The Web portal has been prepared as a global good so that other countries can adopt and use if needed</a:t>
            </a: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IN" b="0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marR="0" lvl="0" indent="-342900" rtl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In upcoming </a:t>
            </a:r>
            <a:r>
              <a:rPr lang="en-IN" b="0" i="0" u="none" strike="noStrike" cap="none" dirty="0" err="1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cPIEs</a:t>
            </a:r>
            <a:r>
              <a:rPr lang="en-IN" b="0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 for other countries, consider to include a component to see how covid-19 vaccination is being integrated within the RI services</a:t>
            </a:r>
          </a:p>
        </p:txBody>
      </p:sp>
      <p:pic>
        <p:nvPicPr>
          <p:cNvPr id="13" name="Google Shape;259;p84">
            <a:extLst>
              <a:ext uri="{FF2B5EF4-FFF2-40B4-BE49-F238E27FC236}">
                <a16:creationId xmlns:a16="http://schemas.microsoft.com/office/drawing/2014/main" id="{A1E820B5-A6F2-4480-A774-7C61773893A9}"/>
              </a:ext>
            </a:extLst>
          </p:cNvPr>
          <p:cNvPicPr preferRelativeResize="0"/>
          <p:nvPr/>
        </p:nvPicPr>
        <p:blipFill rotWithShape="1">
          <a:blip r:embed="rId2"/>
          <a:srcRect l="24739" r="-1" b="-1"/>
          <a:stretch/>
        </p:blipFill>
        <p:spPr>
          <a:xfrm>
            <a:off x="8309113" y="-8969"/>
            <a:ext cx="3882888" cy="34437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Google Shape;258;p84">
            <a:extLst>
              <a:ext uri="{FF2B5EF4-FFF2-40B4-BE49-F238E27FC236}">
                <a16:creationId xmlns:a16="http://schemas.microsoft.com/office/drawing/2014/main" id="{3D91F7DE-77DE-4F5A-9662-B647E3A563EE}"/>
              </a:ext>
            </a:extLst>
          </p:cNvPr>
          <p:cNvPicPr preferRelativeResize="0"/>
          <p:nvPr/>
        </p:nvPicPr>
        <p:blipFill rotWithShape="1">
          <a:blip r:embed="rId3"/>
          <a:srcRect l="8795" r="15597" b="4"/>
          <a:stretch/>
        </p:blipFill>
        <p:spPr>
          <a:xfrm>
            <a:off x="8309112" y="3434824"/>
            <a:ext cx="3882888" cy="3427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1" name="Freeform: Shape 90">
            <a:extLst>
              <a:ext uri="{FF2B5EF4-FFF2-40B4-BE49-F238E27FC236}">
                <a16:creationId xmlns:a16="http://schemas.microsoft.com/office/drawing/2014/main" id="{F4796F7A-20C0-4174-A2F2-AA743C5C02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114193" y="3236380"/>
            <a:ext cx="2377104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74B32B17-A1E3-4486-9011-36D9046559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114193" y="3236380"/>
            <a:ext cx="2377104" cy="4863918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C783AF-FC9A-40B7-B714-89393020C9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6C140946-3DFC-4D34-B54E-5B82F2D3C6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21063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FE65E7D6-1A3C-400A-A5ED-5D1747E40E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574A7B8-DB24-4B73-89D2-2FBF0AE86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0287" y="0"/>
            <a:ext cx="7459958" cy="68532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31D79D14-3FC7-458F-A637-9612B45EE2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468624" y="0"/>
            <a:ext cx="7351628" cy="6858000"/>
          </a:xfrm>
          <a:custGeom>
            <a:avLst/>
            <a:gdLst>
              <a:gd name="connsiteX0" fmla="*/ 0 w 7351628"/>
              <a:gd name="connsiteY0" fmla="*/ 0 h 6858000"/>
              <a:gd name="connsiteX1" fmla="*/ 1482273 w 7351628"/>
              <a:gd name="connsiteY1" fmla="*/ 0 h 6858000"/>
              <a:gd name="connsiteX2" fmla="*/ 2438400 w 7351628"/>
              <a:gd name="connsiteY2" fmla="*/ 0 h 6858000"/>
              <a:gd name="connsiteX3" fmla="*/ 7351628 w 7351628"/>
              <a:gd name="connsiteY3" fmla="*/ 0 h 6858000"/>
              <a:gd name="connsiteX4" fmla="*/ 3920673 w 7351628"/>
              <a:gd name="connsiteY4" fmla="*/ 3430955 h 6858000"/>
              <a:gd name="connsiteX5" fmla="*/ 7175072 w 7351628"/>
              <a:gd name="connsiteY5" fmla="*/ 6857446 h 6858000"/>
              <a:gd name="connsiteX6" fmla="*/ 7196984 w 7351628"/>
              <a:gd name="connsiteY6" fmla="*/ 6858000 h 6858000"/>
              <a:gd name="connsiteX7" fmla="*/ 2438400 w 7351628"/>
              <a:gd name="connsiteY7" fmla="*/ 6858000 h 6858000"/>
              <a:gd name="connsiteX8" fmla="*/ 1482273 w 7351628"/>
              <a:gd name="connsiteY8" fmla="*/ 6858000 h 6858000"/>
              <a:gd name="connsiteX9" fmla="*/ 0 w 7351628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51628" h="6858000">
                <a:moveTo>
                  <a:pt x="0" y="0"/>
                </a:moveTo>
                <a:lnTo>
                  <a:pt x="1482273" y="0"/>
                </a:lnTo>
                <a:lnTo>
                  <a:pt x="2438400" y="0"/>
                </a:lnTo>
                <a:lnTo>
                  <a:pt x="7351628" y="0"/>
                </a:lnTo>
                <a:cubicBezTo>
                  <a:pt x="5456764" y="0"/>
                  <a:pt x="3920673" y="1536091"/>
                  <a:pt x="3920673" y="3430955"/>
                </a:cubicBezTo>
                <a:cubicBezTo>
                  <a:pt x="3920673" y="5266604"/>
                  <a:pt x="5362258" y="6765554"/>
                  <a:pt x="7175072" y="6857446"/>
                </a:cubicBezTo>
                <a:lnTo>
                  <a:pt x="7196984" y="6858000"/>
                </a:lnTo>
                <a:lnTo>
                  <a:pt x="2438400" y="6858000"/>
                </a:lnTo>
                <a:lnTo>
                  <a:pt x="148227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8F0EAE-780D-441B-B275-BFF1FAEC4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85800"/>
            <a:ext cx="3090767" cy="5491163"/>
          </a:xfrm>
        </p:spPr>
        <p:txBody>
          <a:bodyPr anchor="ctr">
            <a:normAutofit/>
          </a:bodyPr>
          <a:lstStyle/>
          <a:p>
            <a:r>
              <a:rPr lang="en-US" sz="28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Acknowledgements</a:t>
            </a:r>
            <a:endParaRPr lang="en-IN" sz="2800" dirty="0">
              <a:solidFill>
                <a:srgbClr val="FFFFFF"/>
              </a:solidFill>
            </a:endParaRPr>
          </a:p>
        </p:txBody>
      </p:sp>
      <p:sp useBgFill="1">
        <p:nvSpPr>
          <p:cNvPr id="32" name="Freeform: Shape 31">
            <a:extLst>
              <a:ext uri="{FF2B5EF4-FFF2-40B4-BE49-F238E27FC236}">
                <a16:creationId xmlns:a16="http://schemas.microsoft.com/office/drawing/2014/main" id="{B8AA0F21-4B75-4AFC-8523-53C3B06E9F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3904573" y="0"/>
            <a:ext cx="5963231" cy="6861910"/>
          </a:xfrm>
          <a:custGeom>
            <a:avLst/>
            <a:gdLst>
              <a:gd name="connsiteX0" fmla="*/ 2532276 w 5963231"/>
              <a:gd name="connsiteY0" fmla="*/ 6861910 h 6861910"/>
              <a:gd name="connsiteX1" fmla="*/ 2377645 w 5963231"/>
              <a:gd name="connsiteY1" fmla="*/ 6858000 h 6861910"/>
              <a:gd name="connsiteX2" fmla="*/ 0 w 5963231"/>
              <a:gd name="connsiteY2" fmla="*/ 6858000 h 6861910"/>
              <a:gd name="connsiteX3" fmla="*/ 0 w 5963231"/>
              <a:gd name="connsiteY3" fmla="*/ 0 h 6861910"/>
              <a:gd name="connsiteX4" fmla="*/ 2532276 w 5963231"/>
              <a:gd name="connsiteY4" fmla="*/ 0 h 6861910"/>
              <a:gd name="connsiteX5" fmla="*/ 2547568 w 5963231"/>
              <a:gd name="connsiteY5" fmla="*/ 0 h 6861910"/>
              <a:gd name="connsiteX6" fmla="*/ 2547568 w 5963231"/>
              <a:gd name="connsiteY6" fmla="*/ 387 h 6861910"/>
              <a:gd name="connsiteX7" fmla="*/ 2708832 w 5963231"/>
              <a:gd name="connsiteY7" fmla="*/ 4464 h 6861910"/>
              <a:gd name="connsiteX8" fmla="*/ 5963231 w 5963231"/>
              <a:gd name="connsiteY8" fmla="*/ 3430955 h 6861910"/>
              <a:gd name="connsiteX9" fmla="*/ 2532276 w 5963231"/>
              <a:gd name="connsiteY9" fmla="*/ 6861910 h 6861910"/>
              <a:gd name="connsiteX0" fmla="*/ 2532276 w 5963231"/>
              <a:gd name="connsiteY0" fmla="*/ 6861910 h 6861910"/>
              <a:gd name="connsiteX1" fmla="*/ 0 w 5963231"/>
              <a:gd name="connsiteY1" fmla="*/ 6858000 h 6861910"/>
              <a:gd name="connsiteX2" fmla="*/ 0 w 5963231"/>
              <a:gd name="connsiteY2" fmla="*/ 0 h 6861910"/>
              <a:gd name="connsiteX3" fmla="*/ 2532276 w 5963231"/>
              <a:gd name="connsiteY3" fmla="*/ 0 h 6861910"/>
              <a:gd name="connsiteX4" fmla="*/ 2547568 w 5963231"/>
              <a:gd name="connsiteY4" fmla="*/ 0 h 6861910"/>
              <a:gd name="connsiteX5" fmla="*/ 2547568 w 5963231"/>
              <a:gd name="connsiteY5" fmla="*/ 387 h 6861910"/>
              <a:gd name="connsiteX6" fmla="*/ 2708832 w 5963231"/>
              <a:gd name="connsiteY6" fmla="*/ 4464 h 6861910"/>
              <a:gd name="connsiteX7" fmla="*/ 5963231 w 5963231"/>
              <a:gd name="connsiteY7" fmla="*/ 3430955 h 6861910"/>
              <a:gd name="connsiteX8" fmla="*/ 2532276 w 5963231"/>
              <a:gd name="connsiteY8" fmla="*/ 6861910 h 686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63231" h="6861910">
                <a:moveTo>
                  <a:pt x="2532276" y="6861910"/>
                </a:moveTo>
                <a:lnTo>
                  <a:pt x="0" y="6858000"/>
                </a:lnTo>
                <a:lnTo>
                  <a:pt x="0" y="0"/>
                </a:lnTo>
                <a:lnTo>
                  <a:pt x="2532276" y="0"/>
                </a:lnTo>
                <a:lnTo>
                  <a:pt x="2547568" y="0"/>
                </a:lnTo>
                <a:lnTo>
                  <a:pt x="2547568" y="387"/>
                </a:lnTo>
                <a:lnTo>
                  <a:pt x="2708832" y="4464"/>
                </a:lnTo>
                <a:cubicBezTo>
                  <a:pt x="4521646" y="96356"/>
                  <a:pt x="5963231" y="1595306"/>
                  <a:pt x="5963231" y="3430955"/>
                </a:cubicBezTo>
                <a:cubicBezTo>
                  <a:pt x="5963231" y="5325819"/>
                  <a:pt x="4427140" y="6861910"/>
                  <a:pt x="2532276" y="6861910"/>
                </a:cubicBezTo>
                <a:close/>
              </a:path>
            </a:pathLst>
          </a:custGeom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6B9420-C707-4C55-BE58-BFEF393A81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6295" y="-4764"/>
            <a:ext cx="3857696" cy="6853236"/>
          </a:xfrm>
        </p:spPr>
        <p:txBody>
          <a:bodyPr anchor="ctr">
            <a:norm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IN" sz="1100" b="1" dirty="0"/>
              <a:t> </a:t>
            </a: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Health Protection Agency, Ministry of Health, Maldives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 Islands/resorts/ schools/ Atoll focal points and teams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Male’ region immunization centre focal points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Island Communities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MTAGI, National AEFI committee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UNICEF Country office, Maldives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UNICEF ROSA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CDC India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MM Global Health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Gavi for funding support under AMC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WHO Country offices - Bangladesh, India, Indonesia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WHO SEARO IVD team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WHO HQ</a:t>
            </a:r>
          </a:p>
          <a:p>
            <a:pPr marL="0" indent="0">
              <a:lnSpc>
                <a:spcPct val="110000"/>
              </a:lnSpc>
              <a:buNone/>
            </a:pPr>
            <a:r>
              <a:rPr lang="en-IN" sz="1200" b="1" dirty="0">
                <a:latin typeface="Calibri" panose="020F0502020204030204" pitchFamily="34" charset="0"/>
                <a:cs typeface="Calibri" panose="020F0502020204030204" pitchFamily="34" charset="0"/>
              </a:rPr>
              <a:t>WHO Country office (Team MMT)</a:t>
            </a:r>
            <a:r>
              <a:rPr lang="en-IN" sz="1200" b="1" dirty="0"/>
              <a:t> </a:t>
            </a:r>
            <a:endParaRPr lang="en-IN" sz="1100" b="1" dirty="0"/>
          </a:p>
        </p:txBody>
      </p:sp>
      <p:pic>
        <p:nvPicPr>
          <p:cNvPr id="20" name="Google Shape;266;p85">
            <a:extLst>
              <a:ext uri="{FF2B5EF4-FFF2-40B4-BE49-F238E27FC236}">
                <a16:creationId xmlns:a16="http://schemas.microsoft.com/office/drawing/2014/main" id="{995488D9-7548-4118-AB37-005658914F01}"/>
              </a:ext>
            </a:extLst>
          </p:cNvPr>
          <p:cNvPicPr preferRelativeResize="0"/>
          <p:nvPr/>
        </p:nvPicPr>
        <p:blipFill rotWithShape="1">
          <a:blip r:embed="rId2"/>
          <a:srcRect l="10021" r="24652" b="1"/>
          <a:stretch/>
        </p:blipFill>
        <p:spPr>
          <a:xfrm>
            <a:off x="8826897" y="-3911"/>
            <a:ext cx="3365104" cy="343838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Google Shape;267;p85">
            <a:extLst>
              <a:ext uri="{FF2B5EF4-FFF2-40B4-BE49-F238E27FC236}">
                <a16:creationId xmlns:a16="http://schemas.microsoft.com/office/drawing/2014/main" id="{862BE228-9B1D-4B72-867B-B0A781D6BC5C}"/>
              </a:ext>
            </a:extLst>
          </p:cNvPr>
          <p:cNvPicPr preferRelativeResize="0"/>
          <p:nvPr/>
        </p:nvPicPr>
        <p:blipFill rotWithShape="1">
          <a:blip r:embed="rId3"/>
          <a:srcRect l="16212" r="18258" b="3"/>
          <a:stretch/>
        </p:blipFill>
        <p:spPr>
          <a:xfrm>
            <a:off x="8828771" y="3430369"/>
            <a:ext cx="3365104" cy="342763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CFF06F-723E-46D2-98E9-7FEB147EFF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05726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20">
            <a:extLst>
              <a:ext uri="{FF2B5EF4-FFF2-40B4-BE49-F238E27FC236}">
                <a16:creationId xmlns:a16="http://schemas.microsoft.com/office/drawing/2014/main" id="{7A08E557-10DB-421A-876E-1AE58F8E07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44703" y="3732560"/>
            <a:ext cx="3352193" cy="312544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 useBgFill="1">
        <p:nvSpPr>
          <p:cNvPr id="19" name="Rectangle 22">
            <a:extLst>
              <a:ext uri="{FF2B5EF4-FFF2-40B4-BE49-F238E27FC236}">
                <a16:creationId xmlns:a16="http://schemas.microsoft.com/office/drawing/2014/main" id="{11CF6B73-2F2C-4A5F-8421-115F82C540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0" name="Rectangle 24">
            <a:extLst>
              <a:ext uri="{FF2B5EF4-FFF2-40B4-BE49-F238E27FC236}">
                <a16:creationId xmlns:a16="http://schemas.microsoft.com/office/drawing/2014/main" id="{D4D0A476-6F75-49D5-8783-646AA46027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2" name="Rectangle 26">
            <a:extLst>
              <a:ext uri="{FF2B5EF4-FFF2-40B4-BE49-F238E27FC236}">
                <a16:creationId xmlns:a16="http://schemas.microsoft.com/office/drawing/2014/main" id="{B6B4C569-8682-4E43-839C-AE19060C74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>
              <a:lumMod val="75000"/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D2A4670-8852-40D4-AAB0-1FFFE5C67F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5182352" cy="6857998"/>
          </a:xfrm>
          <a:custGeom>
            <a:avLst/>
            <a:gdLst>
              <a:gd name="connsiteX0" fmla="*/ 0 w 5182352"/>
              <a:gd name="connsiteY0" fmla="*/ 0 h 6857998"/>
              <a:gd name="connsiteX1" fmla="*/ 2818507 w 5182352"/>
              <a:gd name="connsiteY1" fmla="*/ 0 h 6857998"/>
              <a:gd name="connsiteX2" fmla="*/ 2930927 w 5182352"/>
              <a:gd name="connsiteY2" fmla="*/ 43392 h 6857998"/>
              <a:gd name="connsiteX3" fmla="*/ 5182352 w 5182352"/>
              <a:gd name="connsiteY3" fmla="*/ 3428998 h 6857998"/>
              <a:gd name="connsiteX4" fmla="*/ 2930927 w 5182352"/>
              <a:gd name="connsiteY4" fmla="*/ 6814605 h 6857998"/>
              <a:gd name="connsiteX5" fmla="*/ 2818504 w 5182352"/>
              <a:gd name="connsiteY5" fmla="*/ 6857998 h 6857998"/>
              <a:gd name="connsiteX6" fmla="*/ 0 w 5182352"/>
              <a:gd name="connsiteY6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2352" h="6857998">
                <a:moveTo>
                  <a:pt x="0" y="0"/>
                </a:moveTo>
                <a:lnTo>
                  <a:pt x="2818507" y="0"/>
                </a:lnTo>
                <a:lnTo>
                  <a:pt x="2930927" y="43392"/>
                </a:lnTo>
                <a:cubicBezTo>
                  <a:pt x="4251985" y="590036"/>
                  <a:pt x="5182352" y="1899962"/>
                  <a:pt x="5182352" y="3428998"/>
                </a:cubicBezTo>
                <a:cubicBezTo>
                  <a:pt x="5182352" y="4958035"/>
                  <a:pt x="4251985" y="6267961"/>
                  <a:pt x="2930927" y="6814605"/>
                </a:cubicBezTo>
                <a:lnTo>
                  <a:pt x="2818504" y="6857998"/>
                </a:lnTo>
                <a:lnTo>
                  <a:pt x="0" y="685799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F924B7-710C-4A57-8CFD-02AED0241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618" y="2713004"/>
            <a:ext cx="4227156" cy="3374410"/>
          </a:xfr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4800" dirty="0">
                <a:solidFill>
                  <a:srgbClr val="FFFFFF"/>
                </a:solidFill>
              </a:rPr>
              <a:t>Thank You</a:t>
            </a:r>
          </a:p>
        </p:txBody>
      </p:sp>
      <p:sp useBgFill="1">
        <p:nvSpPr>
          <p:cNvPr id="31" name="Freeform: Shape 30">
            <a:extLst>
              <a:ext uri="{FF2B5EF4-FFF2-40B4-BE49-F238E27FC236}">
                <a16:creationId xmlns:a16="http://schemas.microsoft.com/office/drawing/2014/main" id="{A723B970-858B-4AE6-8CCE-BC60F77BE0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81600" y="2"/>
            <a:ext cx="7010401" cy="6857998"/>
          </a:xfrm>
          <a:custGeom>
            <a:avLst/>
            <a:gdLst>
              <a:gd name="connsiteX0" fmla="*/ 2363848 w 7010401"/>
              <a:gd name="connsiteY0" fmla="*/ 0 h 6857998"/>
              <a:gd name="connsiteX1" fmla="*/ 7010401 w 7010401"/>
              <a:gd name="connsiteY1" fmla="*/ 0 h 6857998"/>
              <a:gd name="connsiteX2" fmla="*/ 7010401 w 7010401"/>
              <a:gd name="connsiteY2" fmla="*/ 6857998 h 6857998"/>
              <a:gd name="connsiteX3" fmla="*/ 2363845 w 7010401"/>
              <a:gd name="connsiteY3" fmla="*/ 6857998 h 6857998"/>
              <a:gd name="connsiteX4" fmla="*/ 2251425 w 7010401"/>
              <a:gd name="connsiteY4" fmla="*/ 6814606 h 6857998"/>
              <a:gd name="connsiteX5" fmla="*/ 0 w 7010401"/>
              <a:gd name="connsiteY5" fmla="*/ 3429000 h 6857998"/>
              <a:gd name="connsiteX6" fmla="*/ 2251425 w 7010401"/>
              <a:gd name="connsiteY6" fmla="*/ 43393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10401" h="6857998">
                <a:moveTo>
                  <a:pt x="2363848" y="0"/>
                </a:moveTo>
                <a:lnTo>
                  <a:pt x="7010401" y="0"/>
                </a:lnTo>
                <a:lnTo>
                  <a:pt x="7010401" y="6857998"/>
                </a:lnTo>
                <a:lnTo>
                  <a:pt x="2363845" y="6857998"/>
                </a:lnTo>
                <a:lnTo>
                  <a:pt x="2251425" y="6814606"/>
                </a:lnTo>
                <a:cubicBezTo>
                  <a:pt x="930367" y="6267962"/>
                  <a:pt x="0" y="4958036"/>
                  <a:pt x="0" y="3429000"/>
                </a:cubicBezTo>
                <a:cubicBezTo>
                  <a:pt x="0" y="1899963"/>
                  <a:pt x="930367" y="590037"/>
                  <a:pt x="2251425" y="43393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16" name="Google Shape;275;p54">
            <a:extLst>
              <a:ext uri="{FF2B5EF4-FFF2-40B4-BE49-F238E27FC236}">
                <a16:creationId xmlns:a16="http://schemas.microsoft.com/office/drawing/2014/main" id="{6AE65615-D738-4B72-9027-9C19A62A0F94}"/>
              </a:ext>
            </a:extLst>
          </p:cNvPr>
          <p:cNvPicPr preferRelativeResize="0"/>
          <p:nvPr/>
        </p:nvPicPr>
        <p:blipFill rotWithShape="1">
          <a:blip r:embed="rId2"/>
          <a:stretch/>
        </p:blipFill>
        <p:spPr>
          <a:xfrm>
            <a:off x="5373293" y="2266436"/>
            <a:ext cx="3125814" cy="233217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14" name="Google Shape;276;p54">
            <a:extLst>
              <a:ext uri="{FF2B5EF4-FFF2-40B4-BE49-F238E27FC236}">
                <a16:creationId xmlns:a16="http://schemas.microsoft.com/office/drawing/2014/main" id="{654B5133-5C4A-4B8D-AC43-904C0B342AA6}"/>
              </a:ext>
            </a:extLst>
          </p:cNvPr>
          <p:cNvPicPr preferRelativeResize="0"/>
          <p:nvPr/>
        </p:nvPicPr>
        <p:blipFill rotWithShape="1">
          <a:blip r:embed="rId3"/>
          <a:stretch/>
        </p:blipFill>
        <p:spPr>
          <a:xfrm>
            <a:off x="8931701" y="2394425"/>
            <a:ext cx="2704008" cy="233217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293E6D-52CE-414C-A9A9-7A3C0CE08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3203"/>
            <a:ext cx="702781" cy="36784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pic>
        <p:nvPicPr>
          <p:cNvPr id="28" name="Google Shape;273;p54" descr="A group of people sitting in a room&#10;&#10;Description automatically generated with low confidence">
            <a:extLst>
              <a:ext uri="{FF2B5EF4-FFF2-40B4-BE49-F238E27FC236}">
                <a16:creationId xmlns:a16="http://schemas.microsoft.com/office/drawing/2014/main" id="{668832EB-38E1-49C2-B638-097D6F161FD6}"/>
              </a:ext>
            </a:extLst>
          </p:cNvPr>
          <p:cNvPicPr preferRelativeResize="0"/>
          <p:nvPr/>
        </p:nvPicPr>
        <p:blipFill rotWithShape="1">
          <a:blip r:embed="rId4"/>
          <a:stretch/>
        </p:blipFill>
        <p:spPr>
          <a:xfrm>
            <a:off x="7816792" y="-163428"/>
            <a:ext cx="2704007" cy="263290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  <p:pic>
        <p:nvPicPr>
          <p:cNvPr id="30" name="Google Shape;272;p54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92C5CE1F-D3C1-40EA-90BB-26E0C9B886E3}"/>
              </a:ext>
            </a:extLst>
          </p:cNvPr>
          <p:cNvPicPr preferRelativeResize="0"/>
          <p:nvPr/>
        </p:nvPicPr>
        <p:blipFill rotWithShape="1">
          <a:blip r:embed="rId5"/>
          <a:stretch/>
        </p:blipFill>
        <p:spPr>
          <a:xfrm>
            <a:off x="323857" y="1662825"/>
            <a:ext cx="4116893" cy="344331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4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91C2D8C8-4D3A-4D5C-8D52-FBD5DF77AD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74726" y="4600875"/>
            <a:ext cx="3037677" cy="203144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1567016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59A0FD-000E-4BE6-AF65-BB86C656DB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096" y="-30839"/>
            <a:ext cx="11774904" cy="1153786"/>
          </a:xfrm>
        </p:spPr>
        <p:txBody>
          <a:bodyPr/>
          <a:lstStyle/>
          <a:p>
            <a:r>
              <a:rPr lang="en-US" sz="40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COVID-19 Vaccination Overview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48698A3-3CB3-4698-8F42-F3D81D37F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DBEFF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DBEFF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27C85D-0807-4DD5-AFEB-961FB0F890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315" y="964876"/>
            <a:ext cx="6599722" cy="5120753"/>
          </a:xfrm>
        </p:spPr>
        <p:txBody>
          <a:bodyPr>
            <a:noAutofit/>
          </a:bodyPr>
          <a:lstStyle/>
          <a:p>
            <a:pPr marL="285750" marR="0" lvl="0" indent="-28575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</a:pPr>
            <a:r>
              <a:rPr lang="en-IN" sz="18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COVID-19 vaccination started 1 February 2021</a:t>
            </a:r>
          </a:p>
          <a:p>
            <a:pPr marL="285750" marR="0" lvl="0" indent="-28575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</a:pPr>
            <a:r>
              <a:rPr lang="en-IN" sz="18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Vaccines for primary series: Covishield-SII, Sinopharm, Astra Zeneca, Pfizer-BioNTech</a:t>
            </a:r>
          </a:p>
          <a:p>
            <a:pPr marL="285750" marR="0" lvl="0" indent="-28575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</a:pPr>
            <a:r>
              <a:rPr lang="en-IN" sz="18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Vaccine used for booster dose: Pfizer BioNTech</a:t>
            </a:r>
          </a:p>
          <a:p>
            <a:pPr marL="285750" marR="0" lvl="0" indent="-28575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</a:pPr>
            <a:r>
              <a:rPr lang="en-IN" sz="18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Current age eligibility:</a:t>
            </a:r>
            <a:endParaRPr lang="en-IN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86410" lvl="1" indent="-285750">
              <a:lnSpc>
                <a:spcPct val="200000"/>
              </a:lnSpc>
              <a:spcBef>
                <a:spcPts val="400"/>
              </a:spcBef>
              <a:buSzPts val="1800"/>
              <a:buFont typeface="Wingdings"/>
              <a:buChar char="Ø"/>
            </a:pPr>
            <a:r>
              <a:rPr lang="en-IN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 </a:t>
            </a:r>
            <a:r>
              <a:rPr lang="en-IN" sz="16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rimary series: 12+ years</a:t>
            </a:r>
            <a:endParaRPr lang="en-IN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86410" lvl="1" indent="-285750">
              <a:lnSpc>
                <a:spcPct val="200000"/>
              </a:lnSpc>
              <a:spcBef>
                <a:spcPts val="600"/>
              </a:spcBef>
              <a:buSzPts val="1800"/>
              <a:buFont typeface="Wingdings"/>
              <a:buChar char="Ø"/>
            </a:pPr>
            <a:r>
              <a:rPr lang="en-IN" sz="16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 </a:t>
            </a:r>
            <a:r>
              <a:rPr lang="en-IN" sz="16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Booster dose: 18+ years</a:t>
            </a:r>
          </a:p>
          <a:p>
            <a:pPr marL="285750" marR="0" lvl="0" indent="-285750" algn="l" rtl="0">
              <a:lnSpc>
                <a:spcPct val="200000"/>
              </a:lnSpc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800"/>
              <a:buChar char="•"/>
            </a:pPr>
            <a:r>
              <a:rPr lang="en-IN" sz="1800" b="0" i="0" u="none" strike="noStrike" cap="none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Equitable and free of cost vaccination: open to all including expatriates and undocumented migrants</a:t>
            </a:r>
            <a:endParaRPr lang="en-IN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44EF37F-59E2-4369-A171-202D7809ACD2}"/>
              </a:ext>
            </a:extLst>
          </p:cNvPr>
          <p:cNvGraphicFramePr/>
          <p:nvPr/>
        </p:nvGraphicFramePr>
        <p:xfrm>
          <a:off x="7192397" y="1193420"/>
          <a:ext cx="4448288" cy="4013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4DDECED-D5D3-446D-8AD7-3683A5667755}"/>
              </a:ext>
            </a:extLst>
          </p:cNvPr>
          <p:cNvSpPr txBox="1"/>
          <p:nvPr/>
        </p:nvSpPr>
        <p:spPr>
          <a:xfrm>
            <a:off x="7192397" y="5302873"/>
            <a:ext cx="31557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Data as on 13-February-2022</a:t>
            </a: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2" name="Footer Placeholder 13">
            <a:extLst>
              <a:ext uri="{FF2B5EF4-FFF2-40B4-BE49-F238E27FC236}">
                <a16:creationId xmlns:a16="http://schemas.microsoft.com/office/drawing/2014/main" id="{6ABA90EA-F232-4F96-8E1F-ED70171A5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3348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60A85D-BBB3-4F95-8893-697258B22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884" y="-28876"/>
            <a:ext cx="11855116" cy="1203158"/>
          </a:xfrm>
        </p:spPr>
        <p:txBody>
          <a:bodyPr/>
          <a:lstStyle/>
          <a:p>
            <a:r>
              <a:rPr lang="en-US" sz="40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Joint COVID-19 &amp; HPV Vaccines PIE: Objectives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80CAC6-6A4F-4CF8-A9AF-552C391188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090" y="1274779"/>
            <a:ext cx="9775944" cy="4789137"/>
          </a:xfrm>
        </p:spPr>
        <p:txBody>
          <a:bodyPr>
            <a:normAutofit/>
          </a:bodyPr>
          <a:lstStyle/>
          <a:p>
            <a:pPr marL="4572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IN" sz="2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in objective: </a:t>
            </a:r>
            <a:endParaRPr lang="en-IN" dirty="0"/>
          </a:p>
          <a:p>
            <a:pPr marL="4572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IN" sz="2000" b="1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" lvl="0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</a:pP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Evaluate the </a:t>
            </a:r>
            <a:r>
              <a:rPr lang="en-IN" sz="2000" dirty="0">
                <a:latin typeface="Calibri"/>
                <a:ea typeface="Calibri"/>
                <a:cs typeface="Calibri"/>
                <a:sym typeface="Calibri"/>
              </a:rPr>
              <a:t>deployment of COVID-19 vaccines in the country and introduction </a:t>
            </a: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f HPV vaccine in the national immunization programme</a:t>
            </a:r>
            <a:endParaRPr lang="en-IN" dirty="0"/>
          </a:p>
          <a:p>
            <a:pPr marL="45720" marR="0" lvl="0" indent="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None/>
            </a:pPr>
            <a:endParaRPr lang="en-IN" sz="20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45720" marR="0" lvl="0" indent="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None/>
            </a:pPr>
            <a:r>
              <a:rPr lang="en-IN" sz="20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pecific: objectives:</a:t>
            </a:r>
          </a:p>
          <a:p>
            <a:pPr marL="45720" marR="0" lvl="0" indent="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None/>
            </a:pPr>
            <a:endParaRPr lang="en-IN" dirty="0"/>
          </a:p>
          <a:p>
            <a:pPr marL="577850" marR="0" lvl="1" indent="-28575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</a:pP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entify strengths &amp; challenges in planning &amp; deployment (</a:t>
            </a: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VID-19 &amp; HPV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  <a:endParaRPr lang="en-IN" sz="2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577850" marR="0" lvl="1" indent="-28575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</a:pP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view implementation of the recommendations from 2019 EPI review  (HPV)</a:t>
            </a:r>
          </a:p>
          <a:p>
            <a:pPr marL="577850" marR="0" lvl="1" indent="-28575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</a:pP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ghlight lessons for strengthening national immunization system and services especially as they relate to specific target groups (e.g. </a:t>
            </a: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olescents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elderly, persons with co-morbidities); (</a:t>
            </a: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VID-19 &amp; HPV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  <a:endParaRPr lang="en-IN" sz="20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577850" marR="0" lvl="1" indent="-28575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</a:pP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form recommendations to correct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problems &amp; implement improvements for ongoing deployment (</a:t>
            </a: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VID-19 &amp; HPV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  <a:endParaRPr lang="en-IN" sz="20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577850" marR="0" lvl="1" indent="-28575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Arial"/>
              <a:buChar char="•"/>
            </a:pP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are lessons learnt (</a:t>
            </a:r>
            <a:r>
              <a:rPr lang="en-IN" sz="20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VID-19 &amp; HPV</a:t>
            </a:r>
            <a:r>
              <a:rPr lang="en-IN" sz="20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8FC72A-B02F-48BC-A774-B56A64597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DBEFF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DBEFF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6" name="Footer Placeholder 13">
            <a:extLst>
              <a:ext uri="{FF2B5EF4-FFF2-40B4-BE49-F238E27FC236}">
                <a16:creationId xmlns:a16="http://schemas.microsoft.com/office/drawing/2014/main" id="{4C6B2872-5247-43D9-87BC-F0F5F345E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75877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60A85D-BBB3-4F95-8893-697258B22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136" y="-28876"/>
            <a:ext cx="11829864" cy="1203158"/>
          </a:xfrm>
        </p:spPr>
        <p:txBody>
          <a:bodyPr/>
          <a:lstStyle/>
          <a:p>
            <a:r>
              <a:rPr lang="en-US" sz="40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Joint cPIE and HPV PIE- salient feat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80CAC6-6A4F-4CF8-A9AF-552C391188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090" y="1274779"/>
            <a:ext cx="5877712" cy="5010518"/>
          </a:xfrm>
        </p:spPr>
        <p:txBody>
          <a:bodyPr>
            <a:normAutofit lnSpcReduction="10000"/>
          </a:bodyPr>
          <a:lstStyle/>
          <a:p>
            <a:pPr marL="91440" marR="0" lvl="0" indent="-91440" algn="just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Maldives is one of the first countries to conduct </a:t>
            </a:r>
            <a:r>
              <a:rPr lang="en-IN" sz="20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 classic PIE for COVID-19 </a:t>
            </a: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vaccination and this was </a:t>
            </a:r>
            <a:r>
              <a:rPr lang="en-IN" sz="200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coupled</a:t>
            </a:r>
            <a:r>
              <a:rPr lang="en-IN" sz="20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with HPV vaccine PIE</a:t>
            </a:r>
          </a:p>
          <a:p>
            <a:pPr marL="91440" marR="0" lvl="0" indent="-91440" algn="just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endParaRPr lang="en-IN" sz="2000" dirty="0"/>
          </a:p>
          <a:p>
            <a:pPr marL="91440" marR="0" lvl="0" indent="-91440" algn="just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IN" sz="20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A "real-time online data collection tool” </a:t>
            </a: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 a web portal and used </a:t>
            </a:r>
          </a:p>
          <a:p>
            <a:pPr marL="91440" marR="0" lvl="0" indent="-91440" algn="just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endParaRPr lang="en-IN" sz="2000" dirty="0"/>
          </a:p>
          <a:p>
            <a:pPr marL="91440" marR="0" lvl="0" indent="-91440" algn="just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IN" sz="20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The classic PIE exercise evaluated all aspects</a:t>
            </a: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of COVID-19 and HPV vaccines roll-out </a:t>
            </a:r>
          </a:p>
          <a:p>
            <a:pPr marL="91440" marR="0" lvl="0" indent="-91440" algn="just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endParaRPr lang="en-IN" sz="2000" dirty="0"/>
          </a:p>
          <a:p>
            <a:pPr marL="91440" marR="0" lvl="0" indent="-91440" algn="just" rtl="0">
              <a:lnSpc>
                <a:spcPct val="90000"/>
              </a:lnSpc>
              <a:spcBef>
                <a:spcPts val="14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High level of political commitment for PIE: Briefing and debriefing meetings were </a:t>
            </a:r>
            <a:r>
              <a:rPr lang="en-IN" sz="20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chaired by HE Minister of Health</a:t>
            </a: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, and attended by all senior officials of health department, members of technical advisory bodies and immunization partners.</a:t>
            </a:r>
            <a:endParaRPr lang="en-IN" sz="2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8FC72A-B02F-48BC-A774-B56A64597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DBEFF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DBEFF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pic>
        <p:nvPicPr>
          <p:cNvPr id="7" name="Google Shape;124;p71">
            <a:extLst>
              <a:ext uri="{FF2B5EF4-FFF2-40B4-BE49-F238E27FC236}">
                <a16:creationId xmlns:a16="http://schemas.microsoft.com/office/drawing/2014/main" id="{732B6BDE-9E63-4768-ACA0-1D95878418A4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500633" y="1124055"/>
            <a:ext cx="4329231" cy="18440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8" name="Google Shape;125;p71">
            <a:extLst>
              <a:ext uri="{FF2B5EF4-FFF2-40B4-BE49-F238E27FC236}">
                <a16:creationId xmlns:a16="http://schemas.microsoft.com/office/drawing/2014/main" id="{FE4134F7-6D5E-4416-9CD9-2B305B02D075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20162" t="13937" r="15649"/>
          <a:stretch/>
        </p:blipFill>
        <p:spPr>
          <a:xfrm>
            <a:off x="7498079" y="3219923"/>
            <a:ext cx="4373825" cy="28536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9" name="Footer Placeholder 13">
            <a:extLst>
              <a:ext uri="{FF2B5EF4-FFF2-40B4-BE49-F238E27FC236}">
                <a16:creationId xmlns:a16="http://schemas.microsoft.com/office/drawing/2014/main" id="{1D266E2E-4D99-4C5B-B829-A3A84C0FE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9630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E409A230-1F63-4EE2-8589-626E2B6F9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A51A8C-0E50-41DF-A91D-08AF981DAC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203942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F78591F-B0B0-4984-93CF-DF5F065334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2343647" cy="4385568"/>
          </a:xfrm>
          <a:custGeom>
            <a:avLst/>
            <a:gdLst>
              <a:gd name="connsiteX0" fmla="*/ 2343647 w 2343647"/>
              <a:gd name="connsiteY0" fmla="*/ 4385568 h 4385568"/>
              <a:gd name="connsiteX1" fmla="*/ 2329829 w 2343647"/>
              <a:gd name="connsiteY1" fmla="*/ 4385568 h 4385568"/>
              <a:gd name="connsiteX2" fmla="*/ 2309087 w 2343647"/>
              <a:gd name="connsiteY2" fmla="*/ 4243910 h 4385568"/>
              <a:gd name="connsiteX3" fmla="*/ 134816 w 2343647"/>
              <a:gd name="connsiteY3" fmla="*/ 2266740 h 4385568"/>
              <a:gd name="connsiteX4" fmla="*/ 0 w 2343647"/>
              <a:gd name="connsiteY4" fmla="*/ 2260357 h 4385568"/>
              <a:gd name="connsiteX5" fmla="*/ 134816 w 2343647"/>
              <a:gd name="connsiteY5" fmla="*/ 2253974 h 4385568"/>
              <a:gd name="connsiteX6" fmla="*/ 2340504 w 2343647"/>
              <a:gd name="connsiteY6" fmla="*/ 62243 h 4385568"/>
              <a:gd name="connsiteX7" fmla="*/ 2343647 w 2343647"/>
              <a:gd name="connsiteY7" fmla="*/ 0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2343647" y="4385568"/>
                </a:moveTo>
                <a:lnTo>
                  <a:pt x="2329829" y="4385568"/>
                </a:lnTo>
                <a:lnTo>
                  <a:pt x="2309087" y="4243910"/>
                </a:lnTo>
                <a:cubicBezTo>
                  <a:pt x="2106054" y="3186505"/>
                  <a:pt x="1224286" y="2370437"/>
                  <a:pt x="134816" y="2266740"/>
                </a:cubicBezTo>
                <a:lnTo>
                  <a:pt x="0" y="2260357"/>
                </a:lnTo>
                <a:lnTo>
                  <a:pt x="134816" y="2253974"/>
                </a:lnTo>
                <a:cubicBezTo>
                  <a:pt x="1296917" y="2143364"/>
                  <a:pt x="2222700" y="1222233"/>
                  <a:pt x="2340504" y="62243"/>
                </a:cubicBezTo>
                <a:lnTo>
                  <a:pt x="234364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FE457BD-7605-4CC4-9DAF-A74B3CC255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2343647" cy="4385568"/>
          </a:xfrm>
          <a:custGeom>
            <a:avLst/>
            <a:gdLst>
              <a:gd name="connsiteX0" fmla="*/ 2343647 w 2343647"/>
              <a:gd name="connsiteY0" fmla="*/ 4385568 h 4385568"/>
              <a:gd name="connsiteX1" fmla="*/ 2329829 w 2343647"/>
              <a:gd name="connsiteY1" fmla="*/ 4385568 h 4385568"/>
              <a:gd name="connsiteX2" fmla="*/ 2309087 w 2343647"/>
              <a:gd name="connsiteY2" fmla="*/ 4243910 h 4385568"/>
              <a:gd name="connsiteX3" fmla="*/ 134816 w 2343647"/>
              <a:gd name="connsiteY3" fmla="*/ 2266740 h 4385568"/>
              <a:gd name="connsiteX4" fmla="*/ 0 w 2343647"/>
              <a:gd name="connsiteY4" fmla="*/ 2260357 h 4385568"/>
              <a:gd name="connsiteX5" fmla="*/ 134816 w 2343647"/>
              <a:gd name="connsiteY5" fmla="*/ 2253974 h 4385568"/>
              <a:gd name="connsiteX6" fmla="*/ 2340504 w 2343647"/>
              <a:gd name="connsiteY6" fmla="*/ 62243 h 4385568"/>
              <a:gd name="connsiteX7" fmla="*/ 2343647 w 2343647"/>
              <a:gd name="connsiteY7" fmla="*/ 0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2343647" y="4385568"/>
                </a:moveTo>
                <a:lnTo>
                  <a:pt x="2329829" y="4385568"/>
                </a:lnTo>
                <a:lnTo>
                  <a:pt x="2309087" y="4243910"/>
                </a:lnTo>
                <a:cubicBezTo>
                  <a:pt x="2106054" y="3186505"/>
                  <a:pt x="1224286" y="2370437"/>
                  <a:pt x="134816" y="2266740"/>
                </a:cubicBezTo>
                <a:lnTo>
                  <a:pt x="0" y="2260357"/>
                </a:lnTo>
                <a:lnTo>
                  <a:pt x="134816" y="2253974"/>
                </a:lnTo>
                <a:cubicBezTo>
                  <a:pt x="1296917" y="2143364"/>
                  <a:pt x="2222700" y="1222233"/>
                  <a:pt x="2340504" y="62243"/>
                </a:cubicBezTo>
                <a:lnTo>
                  <a:pt x="2343647" y="0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60A85D-BBB3-4F95-8893-697258B22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394855"/>
            <a:ext cx="9614847" cy="1517616"/>
          </a:xfrm>
        </p:spPr>
        <p:txBody>
          <a:bodyPr>
            <a:normAutofit/>
          </a:bodyPr>
          <a:lstStyle/>
          <a:p>
            <a:r>
              <a:rPr lang="en-US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Preparatory activities for PI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80CAC6-6A4F-4CF8-A9AF-552C391188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399" y="2514601"/>
            <a:ext cx="7458501" cy="3662362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10000"/>
              </a:lnSpc>
              <a:buClr>
                <a:schemeClr val="tx1"/>
              </a:buClr>
              <a:buSzPts val="2400"/>
              <a:buFont typeface="Arial"/>
              <a:buChar char="•"/>
            </a:pPr>
            <a:r>
              <a:rPr lang="en-IN" sz="18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Conceptualizing of classic PIE amidst pandemic </a:t>
            </a:r>
            <a:endParaRPr lang="en-IN" sz="1800" dirty="0">
              <a:solidFill>
                <a:schemeClr val="tx1"/>
              </a:solidFill>
              <a:latin typeface="Calibri"/>
            </a:endParaRPr>
          </a:p>
          <a:p>
            <a:pPr marL="342900" indent="-342900">
              <a:lnSpc>
                <a:spcPct val="110000"/>
              </a:lnSpc>
              <a:spcBef>
                <a:spcPts val="1400"/>
              </a:spcBef>
              <a:buClr>
                <a:schemeClr val="tx1"/>
              </a:buClr>
              <a:buSzPts val="2400"/>
              <a:buFont typeface="Arial"/>
              <a:buChar char="•"/>
            </a:pPr>
            <a:r>
              <a:rPr lang="en-IN" sz="18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Mobilizing national and international experts</a:t>
            </a:r>
            <a:endParaRPr lang="en-IN" sz="1800" dirty="0">
              <a:solidFill>
                <a:schemeClr val="tx1"/>
              </a:solidFill>
              <a:latin typeface="Calibri"/>
              <a:sym typeface="Calibri"/>
            </a:endParaRPr>
          </a:p>
          <a:p>
            <a:pPr marL="342900" indent="-342900">
              <a:lnSpc>
                <a:spcPct val="110000"/>
              </a:lnSpc>
              <a:spcBef>
                <a:spcPts val="1400"/>
              </a:spcBef>
              <a:buClr>
                <a:schemeClr val="tx1"/>
              </a:buClr>
              <a:buSzPts val="2400"/>
              <a:buFont typeface="Arial"/>
              <a:buChar char="•"/>
            </a:pPr>
            <a:r>
              <a:rPr lang="en-IN" sz="18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Adopting questionnaires and tools to the country context</a:t>
            </a:r>
            <a:endParaRPr lang="en-IN" sz="18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342900" indent="-342900">
              <a:lnSpc>
                <a:spcPct val="110000"/>
              </a:lnSpc>
              <a:spcBef>
                <a:spcPts val="1400"/>
              </a:spcBef>
              <a:buClr>
                <a:schemeClr val="tx1"/>
              </a:buClr>
              <a:buSzPts val="2400"/>
              <a:buFont typeface="Arial"/>
              <a:buChar char="•"/>
            </a:pPr>
            <a:r>
              <a:rPr lang="en-IN" sz="18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Developing the web tool and field testing</a:t>
            </a:r>
            <a:endParaRPr lang="en-IN" sz="18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342900" indent="-342900">
              <a:lnSpc>
                <a:spcPct val="110000"/>
              </a:lnSpc>
              <a:spcBef>
                <a:spcPts val="1400"/>
              </a:spcBef>
              <a:buClr>
                <a:schemeClr val="tx1"/>
              </a:buClr>
              <a:buSzPts val="2400"/>
              <a:buFont typeface="Arial"/>
              <a:buChar char="•"/>
            </a:pPr>
            <a:r>
              <a:rPr lang="en-IN" sz="18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Regular preparatory coordination meetings among all three levels of WHO</a:t>
            </a:r>
            <a:endParaRPr lang="en-IN" sz="18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342900" indent="-342900">
              <a:lnSpc>
                <a:spcPct val="110000"/>
              </a:lnSpc>
              <a:spcBef>
                <a:spcPts val="1400"/>
              </a:spcBef>
              <a:buClr>
                <a:schemeClr val="tx1"/>
              </a:buClr>
              <a:buSzPts val="2400"/>
              <a:buFont typeface="Arial"/>
              <a:buChar char="•"/>
            </a:pPr>
            <a:r>
              <a:rPr lang="en-IN" sz="18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Planning and coordinating with national, atoll, island focal points</a:t>
            </a:r>
            <a:endParaRPr lang="en-IN" sz="18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  <a:p>
            <a:pPr marL="342900" indent="-342900">
              <a:lnSpc>
                <a:spcPct val="110000"/>
              </a:lnSpc>
              <a:spcBef>
                <a:spcPts val="1400"/>
              </a:spcBef>
              <a:buClr>
                <a:schemeClr val="tx1"/>
              </a:buClr>
              <a:buSzPts val="2400"/>
              <a:buFont typeface="Arial"/>
              <a:buChar char="•"/>
            </a:pPr>
            <a:r>
              <a:rPr lang="en-IN" sz="1800" dirty="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rPr>
              <a:t>Virtual trainings and orientations</a:t>
            </a:r>
            <a:endParaRPr lang="en-IN" sz="1800" dirty="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27693E-8796-468D-88AE-19252DEF682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000" b="8505"/>
          <a:stretch/>
        </p:blipFill>
        <p:spPr>
          <a:xfrm>
            <a:off x="8570537" y="4386266"/>
            <a:ext cx="3250919" cy="22308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1D3F4FD-8D1A-40CB-ACFC-7346BA009E4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5000" b="10652"/>
          <a:stretch/>
        </p:blipFill>
        <p:spPr>
          <a:xfrm>
            <a:off x="8577460" y="2210248"/>
            <a:ext cx="3250919" cy="20714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8FC72A-B02F-48BC-A774-B56A64597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2" name="Footer Placeholder 13">
            <a:extLst>
              <a:ext uri="{FF2B5EF4-FFF2-40B4-BE49-F238E27FC236}">
                <a16:creationId xmlns:a16="http://schemas.microsoft.com/office/drawing/2014/main" id="{897F41CD-C429-4A01-B34E-E3A255CEB0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4367" y="6434524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83294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E409A230-1F63-4EE2-8589-626E2B6F9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A51A8C-0E50-41DF-A91D-08AF981DAC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203942" cy="21289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6F78591F-B0B0-4984-93CF-DF5F065334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2343647" cy="4385568"/>
          </a:xfrm>
          <a:custGeom>
            <a:avLst/>
            <a:gdLst>
              <a:gd name="connsiteX0" fmla="*/ 2343647 w 2343647"/>
              <a:gd name="connsiteY0" fmla="*/ 4385568 h 4385568"/>
              <a:gd name="connsiteX1" fmla="*/ 2329829 w 2343647"/>
              <a:gd name="connsiteY1" fmla="*/ 4385568 h 4385568"/>
              <a:gd name="connsiteX2" fmla="*/ 2309087 w 2343647"/>
              <a:gd name="connsiteY2" fmla="*/ 4243910 h 4385568"/>
              <a:gd name="connsiteX3" fmla="*/ 134816 w 2343647"/>
              <a:gd name="connsiteY3" fmla="*/ 2266740 h 4385568"/>
              <a:gd name="connsiteX4" fmla="*/ 0 w 2343647"/>
              <a:gd name="connsiteY4" fmla="*/ 2260357 h 4385568"/>
              <a:gd name="connsiteX5" fmla="*/ 134816 w 2343647"/>
              <a:gd name="connsiteY5" fmla="*/ 2253974 h 4385568"/>
              <a:gd name="connsiteX6" fmla="*/ 2340504 w 2343647"/>
              <a:gd name="connsiteY6" fmla="*/ 62243 h 4385568"/>
              <a:gd name="connsiteX7" fmla="*/ 2343647 w 2343647"/>
              <a:gd name="connsiteY7" fmla="*/ 0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2343647" y="4385568"/>
                </a:moveTo>
                <a:lnTo>
                  <a:pt x="2329829" y="4385568"/>
                </a:lnTo>
                <a:lnTo>
                  <a:pt x="2309087" y="4243910"/>
                </a:lnTo>
                <a:cubicBezTo>
                  <a:pt x="2106054" y="3186505"/>
                  <a:pt x="1224286" y="2370437"/>
                  <a:pt x="134816" y="2266740"/>
                </a:cubicBezTo>
                <a:lnTo>
                  <a:pt x="0" y="2260357"/>
                </a:lnTo>
                <a:lnTo>
                  <a:pt x="134816" y="2253974"/>
                </a:lnTo>
                <a:cubicBezTo>
                  <a:pt x="1296917" y="2143364"/>
                  <a:pt x="2222700" y="1222233"/>
                  <a:pt x="2340504" y="62243"/>
                </a:cubicBezTo>
                <a:lnTo>
                  <a:pt x="2343647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FE457BD-7605-4CC4-9DAF-A74B3CC255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0" y="0"/>
            <a:ext cx="2343647" cy="4385568"/>
          </a:xfrm>
          <a:custGeom>
            <a:avLst/>
            <a:gdLst>
              <a:gd name="connsiteX0" fmla="*/ 2343647 w 2343647"/>
              <a:gd name="connsiteY0" fmla="*/ 4385568 h 4385568"/>
              <a:gd name="connsiteX1" fmla="*/ 2329829 w 2343647"/>
              <a:gd name="connsiteY1" fmla="*/ 4385568 h 4385568"/>
              <a:gd name="connsiteX2" fmla="*/ 2309087 w 2343647"/>
              <a:gd name="connsiteY2" fmla="*/ 4243910 h 4385568"/>
              <a:gd name="connsiteX3" fmla="*/ 134816 w 2343647"/>
              <a:gd name="connsiteY3" fmla="*/ 2266740 h 4385568"/>
              <a:gd name="connsiteX4" fmla="*/ 0 w 2343647"/>
              <a:gd name="connsiteY4" fmla="*/ 2260357 h 4385568"/>
              <a:gd name="connsiteX5" fmla="*/ 134816 w 2343647"/>
              <a:gd name="connsiteY5" fmla="*/ 2253974 h 4385568"/>
              <a:gd name="connsiteX6" fmla="*/ 2340504 w 2343647"/>
              <a:gd name="connsiteY6" fmla="*/ 62243 h 4385568"/>
              <a:gd name="connsiteX7" fmla="*/ 2343647 w 2343647"/>
              <a:gd name="connsiteY7" fmla="*/ 0 h 438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43647" h="4385568">
                <a:moveTo>
                  <a:pt x="2343647" y="4385568"/>
                </a:moveTo>
                <a:lnTo>
                  <a:pt x="2329829" y="4385568"/>
                </a:lnTo>
                <a:lnTo>
                  <a:pt x="2309087" y="4243910"/>
                </a:lnTo>
                <a:cubicBezTo>
                  <a:pt x="2106054" y="3186505"/>
                  <a:pt x="1224286" y="2370437"/>
                  <a:pt x="134816" y="2266740"/>
                </a:cubicBezTo>
                <a:lnTo>
                  <a:pt x="0" y="2260357"/>
                </a:lnTo>
                <a:lnTo>
                  <a:pt x="134816" y="2253974"/>
                </a:lnTo>
                <a:cubicBezTo>
                  <a:pt x="1296917" y="2143364"/>
                  <a:pt x="2222700" y="1222233"/>
                  <a:pt x="2340504" y="62243"/>
                </a:cubicBezTo>
                <a:lnTo>
                  <a:pt x="2343647" y="0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60A85D-BBB3-4F95-8893-697258B22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394855"/>
            <a:ext cx="9614847" cy="1517616"/>
          </a:xfrm>
        </p:spPr>
        <p:txBody>
          <a:bodyPr>
            <a:normAutofit/>
          </a:bodyPr>
          <a:lstStyle/>
          <a:p>
            <a:r>
              <a:rPr lang="en-US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Process of Evalu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80CAC6-6A4F-4CF8-A9AF-552C391188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9298" y="2801434"/>
            <a:ext cx="7489421" cy="3855206"/>
          </a:xfrm>
        </p:spPr>
        <p:txBody>
          <a:bodyPr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Followed methodology for a classic cPIE as per WHO interim guidance: </a:t>
            </a:r>
            <a:endParaRPr lang="en-IN" sz="2000" dirty="0"/>
          </a:p>
          <a:p>
            <a:pPr marL="342900" lvl="6" indent="-342900">
              <a:lnSpc>
                <a:spcPct val="90000"/>
              </a:lnSpc>
              <a:spcBef>
                <a:spcPts val="1400"/>
              </a:spcBef>
              <a:buSzPts val="2000"/>
              <a:buChar char="•"/>
            </a:pP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esk review of relevant background documents</a:t>
            </a:r>
            <a:endParaRPr lang="en-IN" sz="2000" dirty="0"/>
          </a:p>
          <a:p>
            <a:pPr marL="342900" lvl="6" indent="-342900">
              <a:lnSpc>
                <a:spcPct val="90000"/>
              </a:lnSpc>
              <a:spcBef>
                <a:spcPts val="1600"/>
              </a:spcBef>
              <a:buSzPts val="2000"/>
              <a:buChar char="•"/>
            </a:pP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Field visits to conduct interviews and inspection of sites at all levels (7 atolls and</a:t>
            </a:r>
            <a:r>
              <a:rPr lang="en-IN" sz="2000" dirty="0">
                <a:latin typeface="Calibri"/>
                <a:ea typeface="Calibri"/>
                <a:cs typeface="Calibri"/>
                <a:sym typeface="Calibri"/>
              </a:rPr>
              <a:t>  </a:t>
            </a: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ale’ region)</a:t>
            </a:r>
            <a:endParaRPr lang="en-IN" sz="2000" dirty="0">
              <a:latin typeface="Calibri"/>
              <a:ea typeface="Calibri"/>
              <a:cs typeface="Calibri"/>
            </a:endParaRPr>
          </a:p>
          <a:p>
            <a:pPr marL="342900" lvl="6" indent="-342900">
              <a:spcBef>
                <a:spcPts val="1600"/>
              </a:spcBef>
              <a:buSzPts val="2000"/>
            </a:pPr>
            <a:r>
              <a:rPr lang="en-IN" sz="2000" dirty="0">
                <a:latin typeface="Calibri"/>
                <a:ea typeface="Calibri"/>
                <a:cs typeface="Calibri"/>
              </a:rPr>
              <a:t>Each</a:t>
            </a:r>
            <a:r>
              <a:rPr lang="en-IN" sz="2000" dirty="0">
                <a:latin typeface="Calibri"/>
                <a:ea typeface="Calibri"/>
                <a:cs typeface="Calibri"/>
                <a:sym typeface="Calibri"/>
              </a:rPr>
              <a:t> team was led by an external assessor (international expert)</a:t>
            </a:r>
            <a:endParaRPr lang="en-IN" sz="2000" dirty="0">
              <a:latin typeface="Calibri"/>
              <a:ea typeface="Calibri"/>
              <a:cs typeface="Calibri"/>
            </a:endParaRPr>
          </a:p>
          <a:p>
            <a:pPr marL="342900" lvl="6" indent="-342900">
              <a:lnSpc>
                <a:spcPct val="90000"/>
              </a:lnSpc>
              <a:spcBef>
                <a:spcPts val="1600"/>
              </a:spcBef>
              <a:buSzPts val="2000"/>
              <a:buChar char="•"/>
            </a:pPr>
            <a:r>
              <a:rPr lang="en-IN" sz="2000" dirty="0">
                <a:latin typeface="Calibri"/>
                <a:ea typeface="Calibri"/>
                <a:cs typeface="Calibri"/>
              </a:rPr>
              <a:t>Stakeholder engagement and discussions</a:t>
            </a:r>
          </a:p>
          <a:p>
            <a:pPr marL="342900" lvl="6" indent="-342900">
              <a:lnSpc>
                <a:spcPct val="90000"/>
              </a:lnSpc>
              <a:spcBef>
                <a:spcPts val="1400"/>
              </a:spcBef>
              <a:buSzPts val="2000"/>
              <a:buChar char="•"/>
            </a:pP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Compilation and analysis based </a:t>
            </a:r>
            <a:r>
              <a:rPr lang="en-IN" sz="2000" dirty="0">
                <a:latin typeface="Calibri"/>
                <a:ea typeface="Calibri"/>
                <a:cs typeface="Calibri"/>
                <a:sym typeface="Calibri"/>
              </a:rPr>
              <a:t>on thematic areas</a:t>
            </a:r>
            <a:endParaRPr lang="en-IN" sz="2000" dirty="0"/>
          </a:p>
          <a:p>
            <a:pPr marL="342900" lvl="6" indent="-342900">
              <a:lnSpc>
                <a:spcPct val="90000"/>
              </a:lnSpc>
              <a:spcBef>
                <a:spcPts val="1400"/>
              </a:spcBef>
              <a:buSzPts val="2000"/>
              <a:buChar char="•"/>
            </a:pPr>
            <a:r>
              <a:rPr lang="en-IN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Briefing and debriefing meetings</a:t>
            </a:r>
            <a:endParaRPr lang="en-IN" sz="2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8FC72A-B02F-48BC-A774-B56A645975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1152" y="6434524"/>
            <a:ext cx="693261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12" name="Footer Placeholder 13">
            <a:extLst>
              <a:ext uri="{FF2B5EF4-FFF2-40B4-BE49-F238E27FC236}">
                <a16:creationId xmlns:a16="http://schemas.microsoft.com/office/drawing/2014/main" id="{897F41CD-C429-4A01-B34E-E3A255CEB0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BEC895F-F40D-4CDA-9594-81B3B14CBD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76992" y="192724"/>
            <a:ext cx="3503977" cy="528405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152400" dist="12000" dir="900000" sy="98000" kx="110000" ky="200000" algn="tl" rotWithShape="0">
              <a:srgbClr val="000000">
                <a:alpha val="30000"/>
              </a:srgbClr>
            </a:outerShdw>
          </a:effectLst>
          <a:scene3d>
            <a:camera prst="perspectiveRelaxed">
              <a:rot lat="19800000" lon="1200000" rev="20820000"/>
            </a:camera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5073758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C115CF-D209-4317-A1CA-AADC27831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DBEFF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DBEFF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grpSp>
        <p:nvGrpSpPr>
          <p:cNvPr id="6" name="Google Shape;130;p72">
            <a:extLst>
              <a:ext uri="{FF2B5EF4-FFF2-40B4-BE49-F238E27FC236}">
                <a16:creationId xmlns:a16="http://schemas.microsoft.com/office/drawing/2014/main" id="{A36C0EAA-8C60-49CA-B08B-1C4CE22BFC8D}"/>
              </a:ext>
            </a:extLst>
          </p:cNvPr>
          <p:cNvGrpSpPr/>
          <p:nvPr/>
        </p:nvGrpSpPr>
        <p:grpSpPr>
          <a:xfrm>
            <a:off x="714668" y="1625321"/>
            <a:ext cx="4947461" cy="4310304"/>
            <a:chOff x="580033" y="1154"/>
            <a:chExt cx="5111774" cy="4625010"/>
          </a:xfr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7" name="Google Shape;131;p72">
              <a:extLst>
                <a:ext uri="{FF2B5EF4-FFF2-40B4-BE49-F238E27FC236}">
                  <a16:creationId xmlns:a16="http://schemas.microsoft.com/office/drawing/2014/main" id="{30611D97-2819-418A-B8B5-D1901E3D4B0C}"/>
                </a:ext>
              </a:extLst>
            </p:cNvPr>
            <p:cNvSpPr/>
            <p:nvPr/>
          </p:nvSpPr>
          <p:spPr>
            <a:xfrm rot="10800000">
              <a:off x="861041" y="1154"/>
              <a:ext cx="4830748" cy="746688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81568"/>
              </a:srgbClr>
            </a:solid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132;p72">
              <a:extLst>
                <a:ext uri="{FF2B5EF4-FFF2-40B4-BE49-F238E27FC236}">
                  <a16:creationId xmlns:a16="http://schemas.microsoft.com/office/drawing/2014/main" id="{7377C2A9-DD58-46CB-B30E-1F1147518258}"/>
                </a:ext>
              </a:extLst>
            </p:cNvPr>
            <p:cNvSpPr txBox="1"/>
            <p:nvPr/>
          </p:nvSpPr>
          <p:spPr>
            <a:xfrm>
              <a:off x="1047713" y="1154"/>
              <a:ext cx="4644076" cy="74668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250" tIns="68575" rIns="128000" bIns="685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1. Regulatory Preparedness 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" name="Google Shape;133;p72">
              <a:extLst>
                <a:ext uri="{FF2B5EF4-FFF2-40B4-BE49-F238E27FC236}">
                  <a16:creationId xmlns:a16="http://schemas.microsoft.com/office/drawing/2014/main" id="{5DD611BD-B0BC-48FD-89B1-600D09D967C0}"/>
                </a:ext>
              </a:extLst>
            </p:cNvPr>
            <p:cNvSpPr/>
            <p:nvPr/>
          </p:nvSpPr>
          <p:spPr>
            <a:xfrm>
              <a:off x="580033" y="1154"/>
              <a:ext cx="746688" cy="746688"/>
            </a:xfrm>
            <a:prstGeom prst="ellipse">
              <a:avLst/>
            </a:prstGeom>
            <a:blipFill rotWithShape="1">
              <a:blip r:embed="rId2">
                <a:alphaModFix/>
              </a:blip>
              <a:stretch>
                <a:fillRect/>
              </a:stretch>
            </a:blip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134;p72">
              <a:extLst>
                <a:ext uri="{FF2B5EF4-FFF2-40B4-BE49-F238E27FC236}">
                  <a16:creationId xmlns:a16="http://schemas.microsoft.com/office/drawing/2014/main" id="{0771E3FB-A097-401E-B144-2DF96C6E66A7}"/>
                </a:ext>
              </a:extLst>
            </p:cNvPr>
            <p:cNvSpPr/>
            <p:nvPr/>
          </p:nvSpPr>
          <p:spPr>
            <a:xfrm rot="10800000">
              <a:off x="861041" y="970735"/>
              <a:ext cx="4830748" cy="746688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73333"/>
              </a:srgbClr>
            </a:solid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35;p72">
              <a:extLst>
                <a:ext uri="{FF2B5EF4-FFF2-40B4-BE49-F238E27FC236}">
                  <a16:creationId xmlns:a16="http://schemas.microsoft.com/office/drawing/2014/main" id="{E0E675A4-8DD9-4E44-8BA0-435504443255}"/>
                </a:ext>
              </a:extLst>
            </p:cNvPr>
            <p:cNvSpPr txBox="1"/>
            <p:nvPr/>
          </p:nvSpPr>
          <p:spPr>
            <a:xfrm>
              <a:off x="1047713" y="970735"/>
              <a:ext cx="4644076" cy="74668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250" tIns="68575" rIns="128000" bIns="685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2. Planning and Coordination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36;p72">
              <a:extLst>
                <a:ext uri="{FF2B5EF4-FFF2-40B4-BE49-F238E27FC236}">
                  <a16:creationId xmlns:a16="http://schemas.microsoft.com/office/drawing/2014/main" id="{D6FB176E-2182-41C8-8144-9AD00B7F10ED}"/>
                </a:ext>
              </a:extLst>
            </p:cNvPr>
            <p:cNvSpPr/>
            <p:nvPr/>
          </p:nvSpPr>
          <p:spPr>
            <a:xfrm>
              <a:off x="580033" y="970735"/>
              <a:ext cx="746688" cy="746688"/>
            </a:xfrm>
            <a:prstGeom prst="ellipse">
              <a:avLst/>
            </a:prstGeom>
            <a:blipFill rotWithShape="1">
              <a:blip r:embed="rId3">
                <a:alphaModFix/>
              </a:blip>
              <a:stretch>
                <a:fillRect/>
              </a:stretch>
            </a:blip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37;p72">
              <a:extLst>
                <a:ext uri="{FF2B5EF4-FFF2-40B4-BE49-F238E27FC236}">
                  <a16:creationId xmlns:a16="http://schemas.microsoft.com/office/drawing/2014/main" id="{1B0A53A9-3D85-4E7A-B922-C863DF31F935}"/>
                </a:ext>
              </a:extLst>
            </p:cNvPr>
            <p:cNvSpPr/>
            <p:nvPr/>
          </p:nvSpPr>
          <p:spPr>
            <a:xfrm rot="10800000">
              <a:off x="861059" y="1954599"/>
              <a:ext cx="4830748" cy="746688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65490"/>
              </a:srgbClr>
            </a:solid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138;p72">
              <a:extLst>
                <a:ext uri="{FF2B5EF4-FFF2-40B4-BE49-F238E27FC236}">
                  <a16:creationId xmlns:a16="http://schemas.microsoft.com/office/drawing/2014/main" id="{FAA3D328-DF26-419A-A5A6-1488B997DC89}"/>
                </a:ext>
              </a:extLst>
            </p:cNvPr>
            <p:cNvSpPr txBox="1"/>
            <p:nvPr/>
          </p:nvSpPr>
          <p:spPr>
            <a:xfrm>
              <a:off x="1047731" y="1954599"/>
              <a:ext cx="4644076" cy="74668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250" tIns="68575" rIns="128000" bIns="685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3. Service delivery</a:t>
              </a:r>
              <a:endParaRPr kumimoji="0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139;p72">
              <a:extLst>
                <a:ext uri="{FF2B5EF4-FFF2-40B4-BE49-F238E27FC236}">
                  <a16:creationId xmlns:a16="http://schemas.microsoft.com/office/drawing/2014/main" id="{F95492FA-EC7F-4A44-A67B-C3E4BA8C829D}"/>
                </a:ext>
              </a:extLst>
            </p:cNvPr>
            <p:cNvSpPr/>
            <p:nvPr/>
          </p:nvSpPr>
          <p:spPr>
            <a:xfrm>
              <a:off x="580033" y="1940315"/>
              <a:ext cx="746688" cy="746688"/>
            </a:xfrm>
            <a:prstGeom prst="ellipse">
              <a:avLst/>
            </a:prstGeom>
            <a:blipFill rotWithShape="1">
              <a:blip r:embed="rId4">
                <a:alphaModFix/>
              </a:blip>
              <a:stretch>
                <a:fillRect/>
              </a:stretch>
            </a:blip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" name="Google Shape;140;p72">
              <a:extLst>
                <a:ext uri="{FF2B5EF4-FFF2-40B4-BE49-F238E27FC236}">
                  <a16:creationId xmlns:a16="http://schemas.microsoft.com/office/drawing/2014/main" id="{4BAB70FF-F4AB-4C75-81B8-71CF6AC6AF46}"/>
                </a:ext>
              </a:extLst>
            </p:cNvPr>
            <p:cNvSpPr/>
            <p:nvPr/>
          </p:nvSpPr>
          <p:spPr>
            <a:xfrm rot="10800000">
              <a:off x="861041" y="2909896"/>
              <a:ext cx="4830748" cy="746688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57254"/>
              </a:srgbClr>
            </a:solid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" name="Google Shape;141;p72">
              <a:extLst>
                <a:ext uri="{FF2B5EF4-FFF2-40B4-BE49-F238E27FC236}">
                  <a16:creationId xmlns:a16="http://schemas.microsoft.com/office/drawing/2014/main" id="{91096C54-D07A-495F-828A-BDBD0CEE1EAE}"/>
                </a:ext>
              </a:extLst>
            </p:cNvPr>
            <p:cNvSpPr txBox="1"/>
            <p:nvPr/>
          </p:nvSpPr>
          <p:spPr>
            <a:xfrm>
              <a:off x="1047713" y="2909896"/>
              <a:ext cx="4644076" cy="74668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250" tIns="76200" rIns="142225" bIns="762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0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4. Costing and &amp; funding</a:t>
              </a:r>
              <a:endParaRPr kumimoji="0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42;p72">
              <a:extLst>
                <a:ext uri="{FF2B5EF4-FFF2-40B4-BE49-F238E27FC236}">
                  <a16:creationId xmlns:a16="http://schemas.microsoft.com/office/drawing/2014/main" id="{3B3B9936-8F4A-483D-AEF8-FA91E816B05B}"/>
                </a:ext>
              </a:extLst>
            </p:cNvPr>
            <p:cNvSpPr/>
            <p:nvPr/>
          </p:nvSpPr>
          <p:spPr>
            <a:xfrm>
              <a:off x="580033" y="2909896"/>
              <a:ext cx="746688" cy="746688"/>
            </a:xfrm>
            <a:prstGeom prst="ellipse">
              <a:avLst/>
            </a:prstGeom>
            <a:blipFill rotWithShape="1">
              <a:blip r:embed="rId5">
                <a:alphaModFix/>
              </a:blip>
              <a:stretch>
                <a:fillRect/>
              </a:stretch>
            </a:blip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Google Shape;143;p72">
              <a:extLst>
                <a:ext uri="{FF2B5EF4-FFF2-40B4-BE49-F238E27FC236}">
                  <a16:creationId xmlns:a16="http://schemas.microsoft.com/office/drawing/2014/main" id="{8985FAE3-AE21-45E5-8F53-3979CFF647F6}"/>
                </a:ext>
              </a:extLst>
            </p:cNvPr>
            <p:cNvSpPr/>
            <p:nvPr/>
          </p:nvSpPr>
          <p:spPr>
            <a:xfrm rot="10800000">
              <a:off x="861041" y="3879476"/>
              <a:ext cx="4830748" cy="746688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49411"/>
              </a:srgbClr>
            </a:solid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144;p72">
              <a:extLst>
                <a:ext uri="{FF2B5EF4-FFF2-40B4-BE49-F238E27FC236}">
                  <a16:creationId xmlns:a16="http://schemas.microsoft.com/office/drawing/2014/main" id="{1FB6231D-496C-4A2E-8FCA-CD51179A68B6}"/>
                </a:ext>
              </a:extLst>
            </p:cNvPr>
            <p:cNvSpPr txBox="1"/>
            <p:nvPr/>
          </p:nvSpPr>
          <p:spPr>
            <a:xfrm>
              <a:off x="1047713" y="3879476"/>
              <a:ext cx="4644076" cy="746688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250" tIns="68575" rIns="128000" bIns="685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5. Supply Chain 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  Management and Health  Care Waste 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145;p72">
              <a:extLst>
                <a:ext uri="{FF2B5EF4-FFF2-40B4-BE49-F238E27FC236}">
                  <a16:creationId xmlns:a16="http://schemas.microsoft.com/office/drawing/2014/main" id="{17A2FF89-31FB-4FEC-9B82-F8D8BE2084BB}"/>
                </a:ext>
              </a:extLst>
            </p:cNvPr>
            <p:cNvSpPr/>
            <p:nvPr/>
          </p:nvSpPr>
          <p:spPr>
            <a:xfrm>
              <a:off x="580033" y="3879476"/>
              <a:ext cx="746688" cy="746688"/>
            </a:xfrm>
            <a:prstGeom prst="ellipse">
              <a:avLst/>
            </a:prstGeom>
            <a:blipFill rotWithShape="1">
              <a:blip r:embed="rId6">
                <a:alphaModFix/>
              </a:blip>
              <a:stretch>
                <a:fillRect/>
              </a:stretch>
            </a:blipFill>
            <a:ln w="15875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2" name="Google Shape;146;p72">
            <a:extLst>
              <a:ext uri="{FF2B5EF4-FFF2-40B4-BE49-F238E27FC236}">
                <a16:creationId xmlns:a16="http://schemas.microsoft.com/office/drawing/2014/main" id="{BF8FD2E4-1896-4C55-93EA-41FAADCC36A0}"/>
              </a:ext>
            </a:extLst>
          </p:cNvPr>
          <p:cNvGrpSpPr/>
          <p:nvPr/>
        </p:nvGrpSpPr>
        <p:grpSpPr>
          <a:xfrm>
            <a:off x="5743498" y="1641336"/>
            <a:ext cx="5315930" cy="4307077"/>
            <a:chOff x="640246" y="2886"/>
            <a:chExt cx="5409353" cy="4621547"/>
          </a:xfr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23" name="Google Shape;147;p72">
              <a:extLst>
                <a:ext uri="{FF2B5EF4-FFF2-40B4-BE49-F238E27FC236}">
                  <a16:creationId xmlns:a16="http://schemas.microsoft.com/office/drawing/2014/main" id="{8949C148-A209-4D8C-A163-D8CC1FF5191A}"/>
                </a:ext>
              </a:extLst>
            </p:cNvPr>
            <p:cNvSpPr/>
            <p:nvPr/>
          </p:nvSpPr>
          <p:spPr>
            <a:xfrm rot="10800000">
              <a:off x="915170" y="2886"/>
              <a:ext cx="5134429" cy="746129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89411"/>
              </a:srgbClr>
            </a:solid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4" name="Google Shape;148;p72">
              <a:extLst>
                <a:ext uri="{FF2B5EF4-FFF2-40B4-BE49-F238E27FC236}">
                  <a16:creationId xmlns:a16="http://schemas.microsoft.com/office/drawing/2014/main" id="{622C0ABE-FA24-4C95-84AE-058B55C6F331}"/>
                </a:ext>
              </a:extLst>
            </p:cNvPr>
            <p:cNvSpPr txBox="1"/>
            <p:nvPr/>
          </p:nvSpPr>
          <p:spPr>
            <a:xfrm>
              <a:off x="1101702" y="2886"/>
              <a:ext cx="4947897" cy="74612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000" tIns="68575" rIns="128000" bIns="685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Calibri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6. Human Resources Management and     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Calibri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    Training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" name="Google Shape;149;p72">
              <a:extLst>
                <a:ext uri="{FF2B5EF4-FFF2-40B4-BE49-F238E27FC236}">
                  <a16:creationId xmlns:a16="http://schemas.microsoft.com/office/drawing/2014/main" id="{7D465B35-CD23-46D1-B892-C5A25DC2CA22}"/>
                </a:ext>
              </a:extLst>
            </p:cNvPr>
            <p:cNvSpPr/>
            <p:nvPr/>
          </p:nvSpPr>
          <p:spPr>
            <a:xfrm>
              <a:off x="640246" y="2886"/>
              <a:ext cx="746129" cy="746129"/>
            </a:xfrm>
            <a:prstGeom prst="ellipse">
              <a:avLst/>
            </a:prstGeom>
            <a:blipFill rotWithShape="1">
              <a:blip r:embed="rId7">
                <a:alphaModFix/>
              </a:blip>
              <a:stretch>
                <a:fillRect/>
              </a:stretch>
            </a:blip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150;p72">
              <a:extLst>
                <a:ext uri="{FF2B5EF4-FFF2-40B4-BE49-F238E27FC236}">
                  <a16:creationId xmlns:a16="http://schemas.microsoft.com/office/drawing/2014/main" id="{57F29B91-3EFC-430F-9E20-ED664FFC083A}"/>
                </a:ext>
              </a:extLst>
            </p:cNvPr>
            <p:cNvSpPr/>
            <p:nvPr/>
          </p:nvSpPr>
          <p:spPr>
            <a:xfrm rot="10800000">
              <a:off x="915170" y="971740"/>
              <a:ext cx="5134429" cy="746129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81568"/>
              </a:srgbClr>
            </a:solid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151;p72">
              <a:extLst>
                <a:ext uri="{FF2B5EF4-FFF2-40B4-BE49-F238E27FC236}">
                  <a16:creationId xmlns:a16="http://schemas.microsoft.com/office/drawing/2014/main" id="{A5E1D775-9505-40A3-A591-A9B1B3B4A52B}"/>
                </a:ext>
              </a:extLst>
            </p:cNvPr>
            <p:cNvSpPr txBox="1"/>
            <p:nvPr/>
          </p:nvSpPr>
          <p:spPr>
            <a:xfrm>
              <a:off x="1101702" y="971740"/>
              <a:ext cx="4947897" cy="74612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000" tIns="76200" rIns="142225" bIns="762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2000"/>
                <a:buFont typeface="Calibri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7. Vaccine demand, advocacy &amp;       </a:t>
              </a: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2000"/>
                <a:buFont typeface="Calibri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     communication 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152;p72">
              <a:extLst>
                <a:ext uri="{FF2B5EF4-FFF2-40B4-BE49-F238E27FC236}">
                  <a16:creationId xmlns:a16="http://schemas.microsoft.com/office/drawing/2014/main" id="{65B3F01D-C5BA-4CFF-8E85-C10DE986745C}"/>
                </a:ext>
              </a:extLst>
            </p:cNvPr>
            <p:cNvSpPr/>
            <p:nvPr/>
          </p:nvSpPr>
          <p:spPr>
            <a:xfrm>
              <a:off x="640246" y="971740"/>
              <a:ext cx="746129" cy="746129"/>
            </a:xfrm>
            <a:prstGeom prst="ellipse">
              <a:avLst/>
            </a:prstGeom>
            <a:blipFill rotWithShape="1">
              <a:blip r:embed="rId8">
                <a:alphaModFix/>
              </a:blip>
              <a:stretch>
                <a:fillRect/>
              </a:stretch>
            </a:blip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153;p72">
              <a:extLst>
                <a:ext uri="{FF2B5EF4-FFF2-40B4-BE49-F238E27FC236}">
                  <a16:creationId xmlns:a16="http://schemas.microsoft.com/office/drawing/2014/main" id="{1F72DCF8-BC02-44F5-9044-51D25285AFE3}"/>
                </a:ext>
              </a:extLst>
            </p:cNvPr>
            <p:cNvSpPr/>
            <p:nvPr/>
          </p:nvSpPr>
          <p:spPr>
            <a:xfrm rot="10800000">
              <a:off x="915170" y="1940595"/>
              <a:ext cx="5134429" cy="746129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73333"/>
              </a:srgbClr>
            </a:solid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154;p72">
              <a:extLst>
                <a:ext uri="{FF2B5EF4-FFF2-40B4-BE49-F238E27FC236}">
                  <a16:creationId xmlns:a16="http://schemas.microsoft.com/office/drawing/2014/main" id="{1CEFC579-6CC8-4A33-A2E5-AA7BA1CAA9BB}"/>
                </a:ext>
              </a:extLst>
            </p:cNvPr>
            <p:cNvSpPr txBox="1"/>
            <p:nvPr/>
          </p:nvSpPr>
          <p:spPr>
            <a:xfrm>
              <a:off x="1101702" y="1940595"/>
              <a:ext cx="4947897" cy="74612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000" tIns="68575" rIns="128000" bIns="685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Calibri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8. Vaccine Safety Monitoring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Calibri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    Management of AEFIs and Injection Safety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55;p72">
              <a:extLst>
                <a:ext uri="{FF2B5EF4-FFF2-40B4-BE49-F238E27FC236}">
                  <a16:creationId xmlns:a16="http://schemas.microsoft.com/office/drawing/2014/main" id="{C0C9380C-54B4-4C38-8899-BB104CB631F8}"/>
                </a:ext>
              </a:extLst>
            </p:cNvPr>
            <p:cNvSpPr/>
            <p:nvPr/>
          </p:nvSpPr>
          <p:spPr>
            <a:xfrm>
              <a:off x="640246" y="1940595"/>
              <a:ext cx="746129" cy="746129"/>
            </a:xfrm>
            <a:prstGeom prst="ellipse">
              <a:avLst/>
            </a:prstGeom>
            <a:blipFill rotWithShape="1">
              <a:blip r:embed="rId9">
                <a:alphaModFix/>
              </a:blip>
              <a:stretch>
                <a:fillRect t="-4998" b="-4997"/>
              </a:stretch>
            </a:blip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156;p72">
              <a:extLst>
                <a:ext uri="{FF2B5EF4-FFF2-40B4-BE49-F238E27FC236}">
                  <a16:creationId xmlns:a16="http://schemas.microsoft.com/office/drawing/2014/main" id="{560CDF99-688A-4162-A1DA-AF5CF183FC58}"/>
                </a:ext>
              </a:extLst>
            </p:cNvPr>
            <p:cNvSpPr/>
            <p:nvPr/>
          </p:nvSpPr>
          <p:spPr>
            <a:xfrm rot="10800000">
              <a:off x="915170" y="2909449"/>
              <a:ext cx="5134429" cy="746129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65490"/>
              </a:srgbClr>
            </a:solid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157;p72">
              <a:extLst>
                <a:ext uri="{FF2B5EF4-FFF2-40B4-BE49-F238E27FC236}">
                  <a16:creationId xmlns:a16="http://schemas.microsoft.com/office/drawing/2014/main" id="{E3246E01-884C-4D2B-B142-C346E57F194A}"/>
                </a:ext>
              </a:extLst>
            </p:cNvPr>
            <p:cNvSpPr txBox="1"/>
            <p:nvPr/>
          </p:nvSpPr>
          <p:spPr>
            <a:xfrm>
              <a:off x="1101702" y="2909449"/>
              <a:ext cx="4947897" cy="74612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000" tIns="68575" rIns="128000" bIns="685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Calibri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9. Monitoring &amp; Evaluation</a:t>
              </a:r>
              <a:endParaRPr kumimoji="0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" name="Google Shape;158;p72">
              <a:extLst>
                <a:ext uri="{FF2B5EF4-FFF2-40B4-BE49-F238E27FC236}">
                  <a16:creationId xmlns:a16="http://schemas.microsoft.com/office/drawing/2014/main" id="{B7047894-AC46-4A50-A9AF-70200A313366}"/>
                </a:ext>
              </a:extLst>
            </p:cNvPr>
            <p:cNvSpPr/>
            <p:nvPr/>
          </p:nvSpPr>
          <p:spPr>
            <a:xfrm>
              <a:off x="640246" y="2909449"/>
              <a:ext cx="746129" cy="746129"/>
            </a:xfrm>
            <a:prstGeom prst="ellipse">
              <a:avLst/>
            </a:prstGeom>
            <a:blipFill rotWithShape="1">
              <a:blip r:embed="rId10">
                <a:alphaModFix/>
              </a:blip>
              <a:stretch>
                <a:fillRect/>
              </a:stretch>
            </a:blip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159;p72">
              <a:extLst>
                <a:ext uri="{FF2B5EF4-FFF2-40B4-BE49-F238E27FC236}">
                  <a16:creationId xmlns:a16="http://schemas.microsoft.com/office/drawing/2014/main" id="{B37D5721-8952-4EC1-813B-0EFBF7198574}"/>
                </a:ext>
              </a:extLst>
            </p:cNvPr>
            <p:cNvSpPr/>
            <p:nvPr/>
          </p:nvSpPr>
          <p:spPr>
            <a:xfrm rot="10800000">
              <a:off x="915170" y="3878304"/>
              <a:ext cx="5134429" cy="746129"/>
            </a:xfrm>
            <a:prstGeom prst="homePlate">
              <a:avLst>
                <a:gd name="adj" fmla="val 50000"/>
              </a:avLst>
            </a:prstGeom>
            <a:solidFill>
              <a:srgbClr val="9BC0C5">
                <a:alpha val="57254"/>
              </a:srgbClr>
            </a:solid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Google Shape;160;p72">
              <a:extLst>
                <a:ext uri="{FF2B5EF4-FFF2-40B4-BE49-F238E27FC236}">
                  <a16:creationId xmlns:a16="http://schemas.microsoft.com/office/drawing/2014/main" id="{9F80DE23-0EB7-4AD8-8001-0D83A2BFC098}"/>
                </a:ext>
              </a:extLst>
            </p:cNvPr>
            <p:cNvSpPr txBox="1"/>
            <p:nvPr/>
          </p:nvSpPr>
          <p:spPr>
            <a:xfrm>
              <a:off x="1101702" y="3878304"/>
              <a:ext cx="4947897" cy="746129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txBody>
            <a:bodyPr spcFirstLastPara="1" wrap="square" lIns="329000" tIns="68575" rIns="128000" bIns="6857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Calibri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Calibri"/>
                  <a:cs typeface="Calibri"/>
                  <a:sym typeface="Calibri"/>
                </a:rPr>
                <a:t>  10. COVID-19 Surveillance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161;p72">
              <a:extLst>
                <a:ext uri="{FF2B5EF4-FFF2-40B4-BE49-F238E27FC236}">
                  <a16:creationId xmlns:a16="http://schemas.microsoft.com/office/drawing/2014/main" id="{9104742C-61DF-4398-AB90-0283ECFA81F1}"/>
                </a:ext>
              </a:extLst>
            </p:cNvPr>
            <p:cNvSpPr/>
            <p:nvPr/>
          </p:nvSpPr>
          <p:spPr>
            <a:xfrm>
              <a:off x="640246" y="3878304"/>
              <a:ext cx="746129" cy="746129"/>
            </a:xfrm>
            <a:prstGeom prst="ellipse">
              <a:avLst/>
            </a:prstGeom>
            <a:blipFill rotWithShape="1">
              <a:blip r:embed="rId11">
                <a:alphaModFix/>
              </a:blip>
              <a:stretch>
                <a:fillRect l="-32995" r="-32995"/>
              </a:stretch>
            </a:blipFill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8" name="Title 1">
            <a:extLst>
              <a:ext uri="{FF2B5EF4-FFF2-40B4-BE49-F238E27FC236}">
                <a16:creationId xmlns:a16="http://schemas.microsoft.com/office/drawing/2014/main" id="{0A7AF08F-B888-4DAD-9E3E-F06F6C1E621C}"/>
              </a:ext>
            </a:extLst>
          </p:cNvPr>
          <p:cNvSpPr txBox="1">
            <a:spLocks/>
          </p:cNvSpPr>
          <p:nvPr/>
        </p:nvSpPr>
        <p:spPr>
          <a:xfrm>
            <a:off x="336884" y="-28876"/>
            <a:ext cx="11855116" cy="12031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Evaluation areas </a:t>
            </a:r>
            <a:endParaRPr kumimoji="0" lang="en-IN" sz="4000" b="0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j-ea"/>
              <a:cs typeface="+mj-cs"/>
            </a:endParaRPr>
          </a:p>
        </p:txBody>
      </p:sp>
      <p:sp>
        <p:nvSpPr>
          <p:cNvPr id="39" name="Footer Placeholder 13">
            <a:extLst>
              <a:ext uri="{FF2B5EF4-FFF2-40B4-BE49-F238E27FC236}">
                <a16:creationId xmlns:a16="http://schemas.microsoft.com/office/drawing/2014/main" id="{D55F1A16-5B3A-4251-98A8-4B8E97B27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012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C115CF-D209-4317-A1CA-AADC27831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AB70BE-1769-45B8-85A6-0C837432C7E6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DBEFF9"/>
                </a:solidFill>
                <a:effectLst/>
                <a:uLnTx/>
                <a:uFillTx/>
                <a:latin typeface="Elephan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DBEFF9"/>
              </a:solidFill>
              <a:effectLst/>
              <a:uLnTx/>
              <a:uFillTx/>
              <a:latin typeface="Elephant"/>
              <a:ea typeface="+mn-ea"/>
              <a:cs typeface="+mn-cs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0A7AF08F-B888-4DAD-9E3E-F06F6C1E621C}"/>
              </a:ext>
            </a:extLst>
          </p:cNvPr>
          <p:cNvSpPr txBox="1">
            <a:spLocks/>
          </p:cNvSpPr>
          <p:nvPr/>
        </p:nvSpPr>
        <p:spPr>
          <a:xfrm>
            <a:off x="173734" y="0"/>
            <a:ext cx="12018265" cy="12031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4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Number of site interviews by health administrative level </a:t>
            </a:r>
            <a:endParaRPr kumimoji="0" lang="en-IN" sz="4000" b="0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Elephant"/>
              <a:ea typeface="+mj-ea"/>
              <a:cs typeface="+mj-cs"/>
            </a:endParaRPr>
          </a:p>
        </p:txBody>
      </p:sp>
      <p:graphicFrame>
        <p:nvGraphicFramePr>
          <p:cNvPr id="39" name="Google Shape;168;p14">
            <a:extLst>
              <a:ext uri="{FF2B5EF4-FFF2-40B4-BE49-F238E27FC236}">
                <a16:creationId xmlns:a16="http://schemas.microsoft.com/office/drawing/2014/main" id="{4582FA8F-1284-4979-AD43-58E2D8CCEADF}"/>
              </a:ext>
            </a:extLst>
          </p:cNvPr>
          <p:cNvGraphicFramePr/>
          <p:nvPr/>
        </p:nvGraphicFramePr>
        <p:xfrm>
          <a:off x="506741" y="952728"/>
          <a:ext cx="10225428" cy="5303520"/>
        </p:xfrm>
        <a:graphic>
          <a:graphicData uri="http://schemas.openxmlformats.org/drawingml/2006/table">
            <a:tbl>
              <a:tblPr firstRow="1" firstCol="1" bandRow="1">
                <a:noFill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9776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495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50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31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58599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  <a:sym typeface="Times New Roman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alth administration level</a:t>
                      </a:r>
                      <a:endParaRPr sz="20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Times New Roman"/>
                        <a:cs typeface="Calibri" panose="020F0502020204030204" pitchFamily="34" charset="0"/>
                        <a:sym typeface="Times New Roman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views    planned/ Conducted</a:t>
                      </a:r>
                      <a:endParaRPr sz="14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  Interviews conducted</a:t>
                      </a:r>
                      <a:endParaRPr sz="14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6200">
                <a:tc rowSpan="9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-19 vaccine Questionnaires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800"/>
                        <a:buFont typeface="Arial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tional/Central Level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/ 1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 - National Stakeholder Form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3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 - Atoll Level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/8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 - Island Level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/12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 - Storage Observation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/19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64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 - Vaccination Session Observation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/22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7%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 - Health Worker Priority Group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/19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 - Priority Group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1/40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2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id - Resort or Industrial Islands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/8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6200">
                <a:tc row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PV Vaccine Questionnaires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PV - National Level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1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PV - Atoll/Island Levels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/20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PV - Ministry of Education &amp; Schools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/20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5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62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800"/>
                        <a:buFont typeface="Calibri"/>
                        <a:buNone/>
                      </a:pPr>
                      <a:r>
                        <a:rPr lang="en-US" sz="1800" b="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PV - Interview with Parents &amp; Girls</a:t>
                      </a:r>
                      <a:endParaRPr sz="1800" b="0" i="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/20</a:t>
                      </a: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000" u="none" strike="noStrike" cap="none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%</a:t>
                      </a:r>
                      <a:endParaRPr sz="2000" u="none" strike="noStrike" cap="none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00680"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endParaRPr sz="2000" u="none" strike="noStrike" cap="none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</a:t>
                      </a:r>
                      <a:endParaRPr sz="28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800"/>
                        <a:buFont typeface="Arial"/>
                        <a:buNone/>
                      </a:pPr>
                      <a:r>
                        <a:rPr lang="en-US" sz="2800" b="1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6/ 193</a:t>
                      </a:r>
                      <a:endParaRPr sz="2800" b="1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000"/>
                        <a:buFont typeface="Arial"/>
                        <a:buNone/>
                      </a:pPr>
                      <a:r>
                        <a:rPr lang="en-US" sz="2800" b="1" i="0" u="none" strike="noStrike" cap="none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/>
                          <a:cs typeface="Calibri" panose="020F0502020204030204" pitchFamily="34" charset="0"/>
                          <a:sym typeface="Calibri"/>
                        </a:rPr>
                        <a:t>91%</a:t>
                      </a:r>
                      <a:endParaRPr sz="2800" b="1" i="0" u="none" strike="noStrike" cap="non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6" name="Footer Placeholder 13">
            <a:extLst>
              <a:ext uri="{FF2B5EF4-FFF2-40B4-BE49-F238E27FC236}">
                <a16:creationId xmlns:a16="http://schemas.microsoft.com/office/drawing/2014/main" id="{8F467ABB-8841-4CED-B7D1-2A531123E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3735" y="6437376"/>
            <a:ext cx="5292345" cy="362273"/>
          </a:xfr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1" u="none" strike="noStrike" kern="1200" cap="none" spc="5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ldives Joint COVID-19 and HPV Vaccines PIE: December 2021</a:t>
            </a:r>
            <a:endParaRPr kumimoji="0" lang="en-US" sz="1400" b="0" i="1" u="none" strike="noStrike" kern="1200" cap="none" spc="5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6100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cyuoKE2vQFsVEdT9n8N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eVANQHT3b5OAH1H1HXk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LYCGPTqIWeTShwYsN8f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pD5wlSa15Bd5_C_0M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HpD5wlSa15Bd5_C_0Mv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O/IVB Presentation">
  <a:themeElements>
    <a:clrScheme name="WHO _ IVB">
      <a:dk1>
        <a:srgbClr val="000000"/>
      </a:dk1>
      <a:lt1>
        <a:srgbClr val="FFFFFF"/>
      </a:lt1>
      <a:dk2>
        <a:srgbClr val="707070"/>
      </a:dk2>
      <a:lt2>
        <a:srgbClr val="F2F2F2"/>
      </a:lt2>
      <a:accent1>
        <a:srgbClr val="009CDE"/>
      </a:accent1>
      <a:accent2>
        <a:srgbClr val="008ACD"/>
      </a:accent2>
      <a:accent3>
        <a:srgbClr val="0B6AAC"/>
      </a:accent3>
      <a:accent4>
        <a:srgbClr val="134A8A"/>
      </a:accent4>
      <a:accent5>
        <a:srgbClr val="C5EDFF"/>
      </a:accent5>
      <a:accent6>
        <a:srgbClr val="001738"/>
      </a:accent6>
      <a:hlink>
        <a:srgbClr val="008ACD"/>
      </a:hlink>
      <a:folHlink>
        <a:srgbClr val="001738"/>
      </a:folHlink>
    </a:clrScheme>
    <a:fontScheme name="Poppins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VB Red">
      <a:srgbClr val="D80A12"/>
    </a:custClr>
    <a:custClr name="IVB Orange">
      <a:srgbClr val="FA9A00"/>
    </a:custClr>
    <a:custClr name="IVB Yellow">
      <a:srgbClr val="F1E21A"/>
    </a:custClr>
    <a:custClr name="IVB Green">
      <a:srgbClr val="00785A"/>
    </a:custClr>
    <a:custClr name="IVB Light Green">
      <a:srgbClr val="00C871"/>
    </a:custClr>
    <a:custClr name="IVB Magenta">
      <a:srgbClr val="C10077"/>
    </a:custClr>
  </a:custClrLst>
  <a:extLst>
    <a:ext uri="{05A4C25C-085E-4340-85A3-A5531E510DB2}">
      <thm15:themeFamily xmlns:thm15="http://schemas.microsoft.com/office/thememl/2012/main" name="IVB_Master_Deck_V4" id="{2D0C221C-34FA-B949-A0FC-203A2549DFF0}" vid="{1AE36D0E-67F7-4F41-BE60-C6EE0DE72B7B}"/>
    </a:ext>
  </a:extLst>
</a:theme>
</file>

<file path=ppt/theme/theme10.xml><?xml version="1.0" encoding="utf-8"?>
<a:theme xmlns:a="http://schemas.openxmlformats.org/drawingml/2006/main" name="18_Office Theme">
  <a:themeElements>
    <a:clrScheme name="WHO PPT color scheme 2016">
      <a:dk1>
        <a:sysClr val="windowText" lastClr="000000"/>
      </a:dk1>
      <a:lt1>
        <a:sysClr val="window" lastClr="FFFFFF"/>
      </a:lt1>
      <a:dk2>
        <a:srgbClr val="009CDE"/>
      </a:dk2>
      <a:lt2>
        <a:srgbClr val="F3F3F3"/>
      </a:lt2>
      <a:accent1>
        <a:srgbClr val="009CDE"/>
      </a:accent1>
      <a:accent2>
        <a:srgbClr val="183C5C"/>
      </a:accent2>
      <a:accent3>
        <a:srgbClr val="66C4EB"/>
      </a:accent3>
      <a:accent4>
        <a:srgbClr val="9B9B9B"/>
      </a:accent4>
      <a:accent5>
        <a:srgbClr val="CCEBF8"/>
      </a:accent5>
      <a:accent6>
        <a:srgbClr val="C9C9C9"/>
      </a:accent6>
      <a:hlink>
        <a:srgbClr val="009CDE"/>
      </a:hlink>
      <a:folHlink>
        <a:srgbClr val="B2B2B2"/>
      </a:folHlink>
    </a:clrScheme>
    <a:fontScheme name="WHO Fonts PPT 2016">
      <a:majorFont>
        <a:latin typeface="Ebrim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9_Office Theme">
  <a:themeElements>
    <a:clrScheme name="WHO PPT color scheme 2016">
      <a:dk1>
        <a:sysClr val="windowText" lastClr="000000"/>
      </a:dk1>
      <a:lt1>
        <a:sysClr val="window" lastClr="FFFFFF"/>
      </a:lt1>
      <a:dk2>
        <a:srgbClr val="009CDE"/>
      </a:dk2>
      <a:lt2>
        <a:srgbClr val="F3F3F3"/>
      </a:lt2>
      <a:accent1>
        <a:srgbClr val="009CDE"/>
      </a:accent1>
      <a:accent2>
        <a:srgbClr val="183C5C"/>
      </a:accent2>
      <a:accent3>
        <a:srgbClr val="66C4EB"/>
      </a:accent3>
      <a:accent4>
        <a:srgbClr val="9B9B9B"/>
      </a:accent4>
      <a:accent5>
        <a:srgbClr val="CCEBF8"/>
      </a:accent5>
      <a:accent6>
        <a:srgbClr val="C9C9C9"/>
      </a:accent6>
      <a:hlink>
        <a:srgbClr val="009CDE"/>
      </a:hlink>
      <a:folHlink>
        <a:srgbClr val="B2B2B2"/>
      </a:folHlink>
    </a:clrScheme>
    <a:fontScheme name="WHO Fonts PPT 2016">
      <a:majorFont>
        <a:latin typeface="Ebrim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_White">
  <a:themeElements>
    <a:clrScheme name="Scheme1">
      <a:dk1>
        <a:srgbClr val="000066"/>
      </a:dk1>
      <a:lt1>
        <a:srgbClr val="FFFFFF"/>
      </a:lt1>
      <a:dk2>
        <a:srgbClr val="FFFFFF"/>
      </a:dk2>
      <a:lt2>
        <a:srgbClr val="FFFFFF"/>
      </a:lt2>
      <a:accent1>
        <a:srgbClr val="000066"/>
      </a:accent1>
      <a:accent2>
        <a:srgbClr val="53ACE3"/>
      </a:accent2>
      <a:accent3>
        <a:srgbClr val="1E7FB8"/>
      </a:accent3>
      <a:accent4>
        <a:srgbClr val="A2D2F0"/>
      </a:accent4>
      <a:accent5>
        <a:srgbClr val="D86422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66"/>
        </a:dk1>
        <a:lt1>
          <a:srgbClr val="FFFFFF"/>
        </a:lt1>
        <a:dk2>
          <a:srgbClr val="FFFFFF"/>
        </a:dk2>
        <a:lt2>
          <a:srgbClr val="FFFFFF"/>
        </a:lt2>
        <a:accent1>
          <a:srgbClr val="000066"/>
        </a:accent1>
        <a:accent2>
          <a:srgbClr val="53ACE3"/>
        </a:accent2>
        <a:accent3>
          <a:srgbClr val="1E7FB8"/>
        </a:accent3>
        <a:accent4>
          <a:srgbClr val="A2D2F0"/>
        </a:accent4>
        <a:accent5>
          <a:srgbClr val="D86422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BDF53"/>
    </a:custClr>
    <a:custClr name="Custom Color7">
      <a:srgbClr val="20313B"/>
    </a:custClr>
  </a:custClrLst>
  <a:extLst>
    <a:ext uri="{05A4C25C-085E-4340-85A3-A5531E510DB2}">
      <thm15:themeFamily xmlns:thm15="http://schemas.microsoft.com/office/thememl/2012/main" name="WHO Template" id="{CFABA306-933C-4E6F-8C88-FCB9328AE916}" vid="{13A16DDB-7135-4C00-9DA2-3F271ABB4368}"/>
    </a:ext>
  </a:extLst>
</a:theme>
</file>

<file path=ppt/theme/theme13.xml><?xml version="1.0" encoding="utf-8"?>
<a:theme xmlns:a="http://schemas.openxmlformats.org/drawingml/2006/main" name="CustomMaster 3">
  <a:themeElements>
    <a:clrScheme name="Scheme1">
      <a:dk1>
        <a:srgbClr val="000066"/>
      </a:dk1>
      <a:lt1>
        <a:srgbClr val="FFFFFF"/>
      </a:lt1>
      <a:dk2>
        <a:srgbClr val="FFFFFF"/>
      </a:dk2>
      <a:lt2>
        <a:srgbClr val="FFFFFF"/>
      </a:lt2>
      <a:accent1>
        <a:srgbClr val="000066"/>
      </a:accent1>
      <a:accent2>
        <a:srgbClr val="53ACE3"/>
      </a:accent2>
      <a:accent3>
        <a:srgbClr val="1E7FB8"/>
      </a:accent3>
      <a:accent4>
        <a:srgbClr val="A2D2F0"/>
      </a:accent4>
      <a:accent5>
        <a:srgbClr val="D86422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66"/>
        </a:dk1>
        <a:lt1>
          <a:srgbClr val="FFFFFF"/>
        </a:lt1>
        <a:dk2>
          <a:srgbClr val="FFFFFF"/>
        </a:dk2>
        <a:lt2>
          <a:srgbClr val="FFFFFF"/>
        </a:lt2>
        <a:accent1>
          <a:srgbClr val="000066"/>
        </a:accent1>
        <a:accent2>
          <a:srgbClr val="53ACE3"/>
        </a:accent2>
        <a:accent3>
          <a:srgbClr val="1E7FB8"/>
        </a:accent3>
        <a:accent4>
          <a:srgbClr val="A2D2F0"/>
        </a:accent4>
        <a:accent5>
          <a:srgbClr val="D86422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BDF53"/>
    </a:custClr>
    <a:custClr name="Custom Color7">
      <a:srgbClr val="20313B"/>
    </a:custClr>
  </a:custClrLst>
  <a:extLst>
    <a:ext uri="{05A4C25C-085E-4340-85A3-A5531E510DB2}">
      <thm15:themeFamily xmlns:thm15="http://schemas.microsoft.com/office/thememl/2012/main" name="WHO Template" id="{CFABA306-933C-4E6F-8C88-FCB9328AE916}" vid="{13A16DDB-7135-4C00-9DA2-3F271ABB4368}"/>
    </a:ext>
  </a:extLst>
</a:theme>
</file>

<file path=ppt/theme/theme1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CustomMaster 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82F3B"/>
      </a:accent1>
      <a:accent2>
        <a:srgbClr val="1B9EC7"/>
      </a:accent2>
      <a:accent3>
        <a:srgbClr val="E91F50"/>
      </a:accent3>
      <a:accent4>
        <a:srgbClr val="E6D2C8"/>
      </a:accent4>
      <a:accent5>
        <a:srgbClr val="AFAFAF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GV0351_OFF.potx" id="{FD38F87B-94C5-4668-BF33-7224F0112EE7}" vid="{24B64329-BF09-465A-92A7-ED2F4D961A2B}"/>
    </a:ext>
  </a:extLst>
</a:theme>
</file>

<file path=ppt/theme/theme16.xml><?xml version="1.0" encoding="utf-8"?>
<a:theme xmlns:a="http://schemas.openxmlformats.org/drawingml/2006/main" name="1_CustomMaster 3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82F3B"/>
      </a:accent1>
      <a:accent2>
        <a:srgbClr val="1B9EC7"/>
      </a:accent2>
      <a:accent3>
        <a:srgbClr val="E91F50"/>
      </a:accent3>
      <a:accent4>
        <a:srgbClr val="E6D2C8"/>
      </a:accent4>
      <a:accent5>
        <a:srgbClr val="AFAFAF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GV0351_OFF.potx" id="{FD38F87B-94C5-4668-BF33-7224F0112EE7}" vid="{24B64329-BF09-465A-92A7-ED2F4D961A2B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4_White">
  <a:themeElements>
    <a:clrScheme name="Scheme1">
      <a:dk1>
        <a:srgbClr val="000066"/>
      </a:dk1>
      <a:lt1>
        <a:srgbClr val="FFFFFF"/>
      </a:lt1>
      <a:dk2>
        <a:srgbClr val="FFFFFF"/>
      </a:dk2>
      <a:lt2>
        <a:srgbClr val="FFFFFF"/>
      </a:lt2>
      <a:accent1>
        <a:srgbClr val="000066"/>
      </a:accent1>
      <a:accent2>
        <a:srgbClr val="53ACE3"/>
      </a:accent2>
      <a:accent3>
        <a:srgbClr val="1E7FB8"/>
      </a:accent3>
      <a:accent4>
        <a:srgbClr val="A2D2F0"/>
      </a:accent4>
      <a:accent5>
        <a:srgbClr val="D86422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66"/>
        </a:dk1>
        <a:lt1>
          <a:srgbClr val="FFFFFF"/>
        </a:lt1>
        <a:dk2>
          <a:srgbClr val="FFFFFF"/>
        </a:dk2>
        <a:lt2>
          <a:srgbClr val="FFFFFF"/>
        </a:lt2>
        <a:accent1>
          <a:srgbClr val="000066"/>
        </a:accent1>
        <a:accent2>
          <a:srgbClr val="53ACE3"/>
        </a:accent2>
        <a:accent3>
          <a:srgbClr val="1E7FB8"/>
        </a:accent3>
        <a:accent4>
          <a:srgbClr val="A2D2F0"/>
        </a:accent4>
        <a:accent5>
          <a:srgbClr val="D86422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FBDF53"/>
    </a:custClr>
    <a:custClr name="Custom Color7">
      <a:srgbClr val="20313B"/>
    </a:custClr>
  </a:custClrLst>
  <a:extLst>
    <a:ext uri="{05A4C25C-085E-4340-85A3-A5531E510DB2}">
      <thm15:themeFamily xmlns:thm15="http://schemas.microsoft.com/office/thememl/2012/main" name="WHO Template" id="{CFABA306-933C-4E6F-8C88-FCB9328AE916}" vid="{13A16DDB-7135-4C00-9DA2-3F271ABB4368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A3B5D"/>
      </a:accent1>
      <a:accent2>
        <a:srgbClr val="1B9DD9"/>
      </a:accent2>
      <a:accent3>
        <a:srgbClr val="137099"/>
      </a:accent3>
      <a:accent4>
        <a:srgbClr val="8BD1F1"/>
      </a:accent4>
      <a:accent5>
        <a:srgbClr val="6E6F73"/>
      </a:accent5>
      <a:accent6>
        <a:srgbClr val="F1CC32"/>
      </a:accent6>
      <a:hlink>
        <a:srgbClr val="0000FF"/>
      </a:hlink>
      <a:folHlink>
        <a:srgbClr val="800080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A3B5D"/>
        </a:accent1>
        <a:accent2>
          <a:srgbClr val="1B9DD9"/>
        </a:accent2>
        <a:accent3>
          <a:srgbClr val="137099"/>
        </a:accent3>
        <a:accent4>
          <a:srgbClr val="8BD1F1"/>
        </a:accent4>
        <a:accent5>
          <a:srgbClr val="6E6F73"/>
        </a:accent5>
        <a:accent6>
          <a:srgbClr val="F1CC32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4675JG_OFF.potx" id="{0EBD125F-B858-4465-ADDF-CB015C4A9863}" vid="{B48B26CB-D8F5-45C9-9891-09436285323B}"/>
    </a:ext>
  </a:extLst>
</a:theme>
</file>

<file path=ppt/theme/theme7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82F3B"/>
      </a:accent1>
      <a:accent2>
        <a:srgbClr val="1B9EC7"/>
      </a:accent2>
      <a:accent3>
        <a:srgbClr val="E91F50"/>
      </a:accent3>
      <a:accent4>
        <a:srgbClr val="E6D2C8"/>
      </a:accent4>
      <a:accent5>
        <a:srgbClr val="AFAFAF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Presentation10" id="{380BFB42-4FEF-7641-AF17-9A92153CD69B}" vid="{B8C5F178-E533-2F49-8BF7-EFCE41155F35}"/>
    </a:ext>
  </a:extLst>
</a:theme>
</file>

<file path=ppt/theme/theme8.xml><?xml version="1.0" encoding="utf-8"?>
<a:theme xmlns:a="http://schemas.openxmlformats.org/drawingml/2006/main" name="2_Theme WHO">
  <a:themeElements>
    <a:clrScheme name="Custom 8">
      <a:dk1>
        <a:srgbClr val="000000"/>
      </a:dk1>
      <a:lt1>
        <a:srgbClr val="FFFFFF"/>
      </a:lt1>
      <a:dk2>
        <a:srgbClr val="004C82"/>
      </a:dk2>
      <a:lt2>
        <a:srgbClr val="E7E6E6"/>
      </a:lt2>
      <a:accent1>
        <a:srgbClr val="068CC9"/>
      </a:accent1>
      <a:accent2>
        <a:srgbClr val="8CC1E8"/>
      </a:accent2>
      <a:accent3>
        <a:srgbClr val="014C80"/>
      </a:accent3>
      <a:accent4>
        <a:srgbClr val="BE1896"/>
      </a:accent4>
      <a:accent5>
        <a:srgbClr val="02A071"/>
      </a:accent5>
      <a:accent6>
        <a:srgbClr val="D52236"/>
      </a:accent6>
      <a:hlink>
        <a:srgbClr val="068CCA"/>
      </a:hlink>
      <a:folHlink>
        <a:srgbClr val="8BC1E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D PMO_Template" id="{AE290450-FF1D-B146-BA89-207159EA21EE}" vid="{AFD1A0B0-CE5A-B54F-B60A-E8F4C7E727BB}"/>
    </a:ext>
  </a:extLst>
</a:theme>
</file>

<file path=ppt/theme/theme9.xml><?xml version="1.0" encoding="utf-8"?>
<a:theme xmlns:a="http://schemas.openxmlformats.org/drawingml/2006/main" name="ModOverlayVTI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Elephant Arial Nova Light">
      <a:majorFont>
        <a:latin typeface="Elephant"/>
        <a:ea typeface=""/>
        <a:cs typeface=""/>
      </a:majorFont>
      <a:minorFont>
        <a:latin typeface="Arial Nov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OverlayVTI" id="{85202D65-63D3-4793-A090-FA8DF18DC0BE}" vid="{91924FCD-E846-48AE-B233-F25A78D18B8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771</Words>
  <Application>Microsoft Office PowerPoint</Application>
  <PresentationFormat>Widescreen</PresentationFormat>
  <Paragraphs>277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54" baseType="lpstr">
      <vt:lpstr>Arial</vt:lpstr>
      <vt:lpstr>Arial Nova Light</vt:lpstr>
      <vt:lpstr>Calibri</vt:lpstr>
      <vt:lpstr>Calibri Light</vt:lpstr>
      <vt:lpstr>Courier New</vt:lpstr>
      <vt:lpstr>Ebrima</vt:lpstr>
      <vt:lpstr>Elephant</vt:lpstr>
      <vt:lpstr>Georgia</vt:lpstr>
      <vt:lpstr>Poppins</vt:lpstr>
      <vt:lpstr>Poppins Medium</vt:lpstr>
      <vt:lpstr>Poppins SemiBold</vt:lpstr>
      <vt:lpstr>Raleway</vt:lpstr>
      <vt:lpstr>Segoe UI</vt:lpstr>
      <vt:lpstr>Times New Roman</vt:lpstr>
      <vt:lpstr>Wingdings</vt:lpstr>
      <vt:lpstr>WHO/IVB Presentation</vt:lpstr>
      <vt:lpstr>14_White</vt:lpstr>
      <vt:lpstr>Custom Design</vt:lpstr>
      <vt:lpstr>1_Custom Design</vt:lpstr>
      <vt:lpstr>2_Custom Design</vt:lpstr>
      <vt:lpstr>White</vt:lpstr>
      <vt:lpstr>1_White</vt:lpstr>
      <vt:lpstr>2_Theme WHO</vt:lpstr>
      <vt:lpstr>ModOverlayVTI</vt:lpstr>
      <vt:lpstr>18_Office Theme</vt:lpstr>
      <vt:lpstr>19_Office Theme</vt:lpstr>
      <vt:lpstr>2_White</vt:lpstr>
      <vt:lpstr>CustomMaster 3</vt:lpstr>
      <vt:lpstr>3_Custom Design</vt:lpstr>
      <vt:lpstr>CustomMaster 1</vt:lpstr>
      <vt:lpstr>1_CustomMaster 3</vt:lpstr>
      <vt:lpstr>think-cell Slide</vt:lpstr>
      <vt:lpstr>Aishath Thimna Latheef National Professional Officer, WHO Maldives  Dr Lokesh Alahari Consultant, WHO Maldives</vt:lpstr>
      <vt:lpstr>Introduction</vt:lpstr>
      <vt:lpstr>COVID-19 Vaccination Overview</vt:lpstr>
      <vt:lpstr>Joint COVID-19 &amp; HPV Vaccines PIE: Objectives</vt:lpstr>
      <vt:lpstr>Joint cPIE and HPV PIE- salient features</vt:lpstr>
      <vt:lpstr>Preparatory activities for PIE</vt:lpstr>
      <vt:lpstr>Process of Evaluation</vt:lpstr>
      <vt:lpstr>PowerPoint Presentation</vt:lpstr>
      <vt:lpstr>PowerPoint Presentation</vt:lpstr>
      <vt:lpstr>Key Strengths (1)</vt:lpstr>
      <vt:lpstr>Key Strengths (2)</vt:lpstr>
      <vt:lpstr>Key Strengths (3)</vt:lpstr>
      <vt:lpstr>Key Strengths (4)</vt:lpstr>
      <vt:lpstr>Key Strengths (5)</vt:lpstr>
      <vt:lpstr>Key Challenges</vt:lpstr>
      <vt:lpstr>Key Recommendations (1)</vt:lpstr>
      <vt:lpstr>Key Recommendations (2)</vt:lpstr>
      <vt:lpstr>HPV vaccination: Key Findings</vt:lpstr>
      <vt:lpstr>Key Lessons for planning PIE (1)</vt:lpstr>
      <vt:lpstr>Key Lessons for planning PIE (2)</vt:lpstr>
      <vt:lpstr>Acknowledgement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(External) Title here lor ipsum dolor sit amet consectetur adipiscing elit sed do eiusmod</dc:title>
  <dc:creator>LINDSTRAND, Ann</dc:creator>
  <cp:lastModifiedBy>Thierno Diao</cp:lastModifiedBy>
  <cp:revision>6</cp:revision>
  <dcterms:created xsi:type="dcterms:W3CDTF">2022-01-18T17:57:56Z</dcterms:created>
  <dcterms:modified xsi:type="dcterms:W3CDTF">2022-09-20T10:36:00Z</dcterms:modified>
</cp:coreProperties>
</file>